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2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3.xml" ContentType="application/vnd.openxmlformats-officedocument.presentationml.tags+xml"/>
  <Override PartName="/ppt/theme/themeOverride1.xml" ContentType="application/vnd.openxmlformats-officedocument.themeOverr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62" r:id="rId4"/>
  </p:sldMasterIdLst>
  <p:notesMasterIdLst>
    <p:notesMasterId r:id="rId20"/>
  </p:notesMasterIdLst>
  <p:handoutMasterIdLst>
    <p:handoutMasterId r:id="rId21"/>
  </p:handoutMasterIdLst>
  <p:sldIdLst>
    <p:sldId id="259" r:id="rId5"/>
    <p:sldId id="268" r:id="rId6"/>
    <p:sldId id="1703" r:id="rId7"/>
    <p:sldId id="267" r:id="rId8"/>
    <p:sldId id="788" r:id="rId9"/>
    <p:sldId id="1242" r:id="rId10"/>
    <p:sldId id="1244" r:id="rId11"/>
    <p:sldId id="1186" r:id="rId12"/>
    <p:sldId id="266" r:id="rId13"/>
    <p:sldId id="781" r:id="rId14"/>
    <p:sldId id="443" r:id="rId15"/>
    <p:sldId id="782" r:id="rId16"/>
    <p:sldId id="581" r:id="rId17"/>
    <p:sldId id="1704" r:id="rId18"/>
    <p:sldId id="306" r:id="rId19"/>
  </p:sldIdLst>
  <p:sldSz cx="9144000" cy="5143500" type="screen16x9"/>
  <p:notesSz cx="6858000" cy="91440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F00"/>
    <a:srgbClr val="FF3300"/>
    <a:srgbClr val="FF9933"/>
    <a:srgbClr val="F7DB31"/>
    <a:srgbClr val="069169"/>
    <a:srgbClr val="000000"/>
    <a:srgbClr val="2D6DF4"/>
    <a:srgbClr val="0054BC"/>
    <a:srgbClr val="DCEBF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0C4D6F7-2C57-4AC7-A1F2-E8EF01A4FF5D}" v="21" dt="2021-11-25T15:46:48.328"/>
    <p1510:client id="{B3D9E907-9AB7-45FF-A9E6-0E089B8C5B8B}" v="73" dt="2021-11-25T16:08:48.317"/>
    <p1510:client id="{C7E78193-481A-DFD1-96E7-4152E66D9645}" v="7" dt="2021-11-24T21:54:47.504"/>
  </p1510:revLst>
</p1510:revInfo>
</file>

<file path=ppt/tableStyles.xml><?xml version="1.0" encoding="utf-8"?>
<a:tblStyleLst xmlns:a="http://schemas.openxmlformats.org/drawingml/2006/main" def="{5C22544A-7EE6-4342-B048-85BDC9FD1C3A}">
  <a:tblStyle styleId="{3C2FFA5D-87B4-456A-9821-1D502468CF0F}" styleName="Estilo temático 1 - Énfasis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Estilo temático 1 - Énfasis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8799B23B-EC83-4686-B30A-512413B5E67A}" styleName="Estilo claro 3 - Acento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2838BEF-8BB2-4498-84A7-C5851F593DF1}" styleName="Estilo medio 4 - Énfasis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0505E3EF-67EA-436B-97B2-0124C06EBD24}" styleName="Estilo medio 4 - Énfasis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E8B1032C-EA38-4F05-BA0D-38AFFFC7BED3}" styleName="Estilo claro 3 - Acento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BDBED569-4797-4DF1-A0F4-6AAB3CD982D8}" styleName="Estilo claro 3 - Acento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ED083AE6-46FA-4A59-8FB0-9F97EB10719F}" styleName="Estilo claro 3 - Acento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8A107856-5554-42FB-B03E-39F5DBC370BA}" styleName="Estilo medio 4 - Énfasis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C4B1156A-380E-4F78-BDF5-A606A8083BF9}" styleName="Estilo medio 4 - Énfasis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2D5ABB26-0587-4C30-8999-92F81FD0307C}" styleName="Sin estilo ni cuadrícul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8FB837D-C827-4EFA-A057-4D05807E0F7C}" styleName="Estilo temático 1 - Énfasis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912C8C85-51F0-491E-9774-3900AFEF0FD7}" styleName="Estilo claro 2 - Acento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Relationship Id="rId27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dgardo Garciaherreros Barrera" userId="50297d75-cafc-4155-a0a0-c3f12c851f9e" providerId="ADAL" clId="{20C4D6F7-2C57-4AC7-A1F2-E8EF01A4FF5D}"/>
    <pc:docChg chg="custSel addSld delSld modSld">
      <pc:chgData name="Edgardo Garciaherreros Barrera" userId="50297d75-cafc-4155-a0a0-c3f12c851f9e" providerId="ADAL" clId="{20C4D6F7-2C57-4AC7-A1F2-E8EF01A4FF5D}" dt="2021-11-25T15:46:48.328" v="147" actId="20577"/>
      <pc:docMkLst>
        <pc:docMk/>
      </pc:docMkLst>
      <pc:sldChg chg="modSp mod">
        <pc:chgData name="Edgardo Garciaherreros Barrera" userId="50297d75-cafc-4155-a0a0-c3f12c851f9e" providerId="ADAL" clId="{20C4D6F7-2C57-4AC7-A1F2-E8EF01A4FF5D}" dt="2021-11-24T12:21:50.657" v="94" actId="207"/>
        <pc:sldMkLst>
          <pc:docMk/>
          <pc:sldMk cId="0" sldId="259"/>
        </pc:sldMkLst>
        <pc:spChg chg="mod">
          <ac:chgData name="Edgardo Garciaherreros Barrera" userId="50297d75-cafc-4155-a0a0-c3f12c851f9e" providerId="ADAL" clId="{20C4D6F7-2C57-4AC7-A1F2-E8EF01A4FF5D}" dt="2021-11-24T12:21:50.657" v="94" actId="207"/>
          <ac:spMkLst>
            <pc:docMk/>
            <pc:sldMk cId="0" sldId="259"/>
            <ac:spMk id="3" creationId="{6C9E0C39-8742-B14F-9B09-71798CFEC522}"/>
          </ac:spMkLst>
        </pc:spChg>
      </pc:sldChg>
      <pc:sldChg chg="modSp mod">
        <pc:chgData name="Edgardo Garciaherreros Barrera" userId="50297d75-cafc-4155-a0a0-c3f12c851f9e" providerId="ADAL" clId="{20C4D6F7-2C57-4AC7-A1F2-E8EF01A4FF5D}" dt="2021-11-24T12:14:31.403" v="81" actId="15"/>
        <pc:sldMkLst>
          <pc:docMk/>
          <pc:sldMk cId="3214043996" sldId="266"/>
        </pc:sldMkLst>
        <pc:spChg chg="mod">
          <ac:chgData name="Edgardo Garciaherreros Barrera" userId="50297d75-cafc-4155-a0a0-c3f12c851f9e" providerId="ADAL" clId="{20C4D6F7-2C57-4AC7-A1F2-E8EF01A4FF5D}" dt="2021-11-24T12:14:31.403" v="81" actId="15"/>
          <ac:spMkLst>
            <pc:docMk/>
            <pc:sldMk cId="3214043996" sldId="266"/>
            <ac:spMk id="10" creationId="{2A28F739-ECD2-4682-8921-4C7135E716E7}"/>
          </ac:spMkLst>
        </pc:spChg>
      </pc:sldChg>
      <pc:sldChg chg="modSp mod">
        <pc:chgData name="Edgardo Garciaherreros Barrera" userId="50297d75-cafc-4155-a0a0-c3f12c851f9e" providerId="ADAL" clId="{20C4D6F7-2C57-4AC7-A1F2-E8EF01A4FF5D}" dt="2021-11-24T18:34:27.053" v="117" actId="20577"/>
        <pc:sldMkLst>
          <pc:docMk/>
          <pc:sldMk cId="0" sldId="268"/>
        </pc:sldMkLst>
        <pc:spChg chg="mod">
          <ac:chgData name="Edgardo Garciaherreros Barrera" userId="50297d75-cafc-4155-a0a0-c3f12c851f9e" providerId="ADAL" clId="{20C4D6F7-2C57-4AC7-A1F2-E8EF01A4FF5D}" dt="2021-11-24T18:34:27.053" v="117" actId="20577"/>
          <ac:spMkLst>
            <pc:docMk/>
            <pc:sldMk cId="0" sldId="268"/>
            <ac:spMk id="214" creationId="{00000000-0000-0000-0000-000000000000}"/>
          </ac:spMkLst>
        </pc:spChg>
      </pc:sldChg>
      <pc:sldChg chg="addSp delSp modSp mod">
        <pc:chgData name="Edgardo Garciaherreros Barrera" userId="50297d75-cafc-4155-a0a0-c3f12c851f9e" providerId="ADAL" clId="{20C4D6F7-2C57-4AC7-A1F2-E8EF01A4FF5D}" dt="2021-11-25T15:46:48.328" v="147" actId="20577"/>
        <pc:sldMkLst>
          <pc:docMk/>
          <pc:sldMk cId="607840354" sldId="781"/>
        </pc:sldMkLst>
        <pc:graphicFrameChg chg="del mod">
          <ac:chgData name="Edgardo Garciaherreros Barrera" userId="50297d75-cafc-4155-a0a0-c3f12c851f9e" providerId="ADAL" clId="{20C4D6F7-2C57-4AC7-A1F2-E8EF01A4FF5D}" dt="2021-11-24T12:15:50.749" v="88" actId="478"/>
          <ac:graphicFrameMkLst>
            <pc:docMk/>
            <pc:sldMk cId="607840354" sldId="781"/>
            <ac:graphicFrameMk id="2" creationId="{50452A39-CA6F-4A92-98A8-0679EE4FACDC}"/>
          </ac:graphicFrameMkLst>
        </pc:graphicFrameChg>
        <pc:graphicFrameChg chg="add mod">
          <ac:chgData name="Edgardo Garciaherreros Barrera" userId="50297d75-cafc-4155-a0a0-c3f12c851f9e" providerId="ADAL" clId="{20C4D6F7-2C57-4AC7-A1F2-E8EF01A4FF5D}" dt="2021-11-25T15:46:48.328" v="147" actId="20577"/>
          <ac:graphicFrameMkLst>
            <pc:docMk/>
            <pc:sldMk cId="607840354" sldId="781"/>
            <ac:graphicFrameMk id="6" creationId="{DDF03D46-3753-4599-A281-2320330906EC}"/>
          </ac:graphicFrameMkLst>
        </pc:graphicFrameChg>
      </pc:sldChg>
      <pc:sldChg chg="addSp delSp modSp mod">
        <pc:chgData name="Edgardo Garciaherreros Barrera" userId="50297d75-cafc-4155-a0a0-c3f12c851f9e" providerId="ADAL" clId="{20C4D6F7-2C57-4AC7-A1F2-E8EF01A4FF5D}" dt="2021-11-24T18:36:12.075" v="138" actId="113"/>
        <pc:sldMkLst>
          <pc:docMk/>
          <pc:sldMk cId="4069941952" sldId="788"/>
        </pc:sldMkLst>
        <pc:spChg chg="del mod">
          <ac:chgData name="Edgardo Garciaherreros Barrera" userId="50297d75-cafc-4155-a0a0-c3f12c851f9e" providerId="ADAL" clId="{20C4D6F7-2C57-4AC7-A1F2-E8EF01A4FF5D}" dt="2021-11-24T18:33:56.104" v="98" actId="21"/>
          <ac:spMkLst>
            <pc:docMk/>
            <pc:sldMk cId="4069941952" sldId="788"/>
            <ac:spMk id="10" creationId="{109B7911-8F26-47D0-A2BD-0CF926A2431B}"/>
          </ac:spMkLst>
        </pc:spChg>
        <pc:spChg chg="add mod">
          <ac:chgData name="Edgardo Garciaherreros Barrera" userId="50297d75-cafc-4155-a0a0-c3f12c851f9e" providerId="ADAL" clId="{20C4D6F7-2C57-4AC7-A1F2-E8EF01A4FF5D}" dt="2021-11-24T18:36:12.075" v="138" actId="113"/>
          <ac:spMkLst>
            <pc:docMk/>
            <pc:sldMk cId="4069941952" sldId="788"/>
            <ac:spMk id="13" creationId="{67DE5F4F-0FC6-4FC1-B4FD-15335831096A}"/>
          </ac:spMkLst>
        </pc:spChg>
      </pc:sldChg>
      <pc:sldChg chg="addSp delSp modSp mod">
        <pc:chgData name="Edgardo Garciaherreros Barrera" userId="50297d75-cafc-4155-a0a0-c3f12c851f9e" providerId="ADAL" clId="{20C4D6F7-2C57-4AC7-A1F2-E8EF01A4FF5D}" dt="2021-11-24T12:13:19.488" v="77" actId="14100"/>
        <pc:sldMkLst>
          <pc:docMk/>
          <pc:sldMk cId="127683262" sldId="1186"/>
        </pc:sldMkLst>
        <pc:spChg chg="add del mod">
          <ac:chgData name="Edgardo Garciaherreros Barrera" userId="50297d75-cafc-4155-a0a0-c3f12c851f9e" providerId="ADAL" clId="{20C4D6F7-2C57-4AC7-A1F2-E8EF01A4FF5D}" dt="2021-11-24T12:13:15.312" v="76" actId="478"/>
          <ac:spMkLst>
            <pc:docMk/>
            <pc:sldMk cId="127683262" sldId="1186"/>
            <ac:spMk id="7" creationId="{73063590-76DF-43D3-B9D6-08D2F85101CB}"/>
          </ac:spMkLst>
        </pc:spChg>
        <pc:spChg chg="del">
          <ac:chgData name="Edgardo Garciaherreros Barrera" userId="50297d75-cafc-4155-a0a0-c3f12c851f9e" providerId="ADAL" clId="{20C4D6F7-2C57-4AC7-A1F2-E8EF01A4FF5D}" dt="2021-11-24T12:10:51.944" v="68" actId="478"/>
          <ac:spMkLst>
            <pc:docMk/>
            <pc:sldMk cId="127683262" sldId="1186"/>
            <ac:spMk id="110" creationId="{DCD8EB48-0F04-400E-B9D8-B8F1A28C9B5C}"/>
          </ac:spMkLst>
        </pc:spChg>
        <pc:picChg chg="add mod">
          <ac:chgData name="Edgardo Garciaherreros Barrera" userId="50297d75-cafc-4155-a0a0-c3f12c851f9e" providerId="ADAL" clId="{20C4D6F7-2C57-4AC7-A1F2-E8EF01A4FF5D}" dt="2021-11-24T12:13:19.488" v="77" actId="14100"/>
          <ac:picMkLst>
            <pc:docMk/>
            <pc:sldMk cId="127683262" sldId="1186"/>
            <ac:picMk id="6" creationId="{74B3B082-1136-4762-9085-8B1A87550958}"/>
          </ac:picMkLst>
        </pc:picChg>
      </pc:sldChg>
      <pc:sldChg chg="modSp mod">
        <pc:chgData name="Edgardo Garciaherreros Barrera" userId="50297d75-cafc-4155-a0a0-c3f12c851f9e" providerId="ADAL" clId="{20C4D6F7-2C57-4AC7-A1F2-E8EF01A4FF5D}" dt="2021-11-24T12:22:31.704" v="97" actId="1076"/>
        <pc:sldMkLst>
          <pc:docMk/>
          <pc:sldMk cId="2397873178" sldId="1242"/>
        </pc:sldMkLst>
        <pc:spChg chg="mod">
          <ac:chgData name="Edgardo Garciaherreros Barrera" userId="50297d75-cafc-4155-a0a0-c3f12c851f9e" providerId="ADAL" clId="{20C4D6F7-2C57-4AC7-A1F2-E8EF01A4FF5D}" dt="2021-11-24T12:08:11.596" v="3" actId="123"/>
          <ac:spMkLst>
            <pc:docMk/>
            <pc:sldMk cId="2397873178" sldId="1242"/>
            <ac:spMk id="9" creationId="{6F35F68E-5B2A-401F-9B99-F28657330274}"/>
          </ac:spMkLst>
        </pc:spChg>
        <pc:picChg chg="mod">
          <ac:chgData name="Edgardo Garciaherreros Barrera" userId="50297d75-cafc-4155-a0a0-c3f12c851f9e" providerId="ADAL" clId="{20C4D6F7-2C57-4AC7-A1F2-E8EF01A4FF5D}" dt="2021-11-24T12:22:31.704" v="97" actId="1076"/>
          <ac:picMkLst>
            <pc:docMk/>
            <pc:sldMk cId="2397873178" sldId="1242"/>
            <ac:picMk id="6" creationId="{00000000-0000-0000-0000-000000000000}"/>
          </ac:picMkLst>
        </pc:picChg>
      </pc:sldChg>
      <pc:sldChg chg="addSp delSp modSp mod">
        <pc:chgData name="Edgardo Garciaherreros Barrera" userId="50297d75-cafc-4155-a0a0-c3f12c851f9e" providerId="ADAL" clId="{20C4D6F7-2C57-4AC7-A1F2-E8EF01A4FF5D}" dt="2021-11-24T12:10:45.352" v="67" actId="113"/>
        <pc:sldMkLst>
          <pc:docMk/>
          <pc:sldMk cId="3168406994" sldId="1244"/>
        </pc:sldMkLst>
        <pc:spChg chg="del">
          <ac:chgData name="Edgardo Garciaherreros Barrera" userId="50297d75-cafc-4155-a0a0-c3f12c851f9e" providerId="ADAL" clId="{20C4D6F7-2C57-4AC7-A1F2-E8EF01A4FF5D}" dt="2021-11-24T12:08:21.602" v="4" actId="478"/>
          <ac:spMkLst>
            <pc:docMk/>
            <pc:sldMk cId="3168406994" sldId="1244"/>
            <ac:spMk id="2" creationId="{030F3B9E-51F8-42DA-858B-2F1F907CEA77}"/>
          </ac:spMkLst>
        </pc:spChg>
        <pc:spChg chg="mod">
          <ac:chgData name="Edgardo Garciaherreros Barrera" userId="50297d75-cafc-4155-a0a0-c3f12c851f9e" providerId="ADAL" clId="{20C4D6F7-2C57-4AC7-A1F2-E8EF01A4FF5D}" dt="2021-11-24T12:10:45.352" v="67" actId="113"/>
          <ac:spMkLst>
            <pc:docMk/>
            <pc:sldMk cId="3168406994" sldId="1244"/>
            <ac:spMk id="11" creationId="{C4446BEC-E3B0-434D-BAA0-02F2A33B741D}"/>
          </ac:spMkLst>
        </pc:spChg>
        <pc:picChg chg="add mod modCrop">
          <ac:chgData name="Edgardo Garciaherreros Barrera" userId="50297d75-cafc-4155-a0a0-c3f12c851f9e" providerId="ADAL" clId="{20C4D6F7-2C57-4AC7-A1F2-E8EF01A4FF5D}" dt="2021-11-24T12:09:14.183" v="15" actId="1076"/>
          <ac:picMkLst>
            <pc:docMk/>
            <pc:sldMk cId="3168406994" sldId="1244"/>
            <ac:picMk id="4" creationId="{03CEA5D4-A3E6-4066-9E9C-9E775FDB57A6}"/>
          </ac:picMkLst>
        </pc:picChg>
      </pc:sldChg>
      <pc:sldChg chg="modSp mod">
        <pc:chgData name="Edgardo Garciaherreros Barrera" userId="50297d75-cafc-4155-a0a0-c3f12c851f9e" providerId="ADAL" clId="{20C4D6F7-2C57-4AC7-A1F2-E8EF01A4FF5D}" dt="2021-11-24T12:06:53.356" v="1" actId="12385"/>
        <pc:sldMkLst>
          <pc:docMk/>
          <pc:sldMk cId="0" sldId="1703"/>
        </pc:sldMkLst>
        <pc:graphicFrameChg chg="modGraphic">
          <ac:chgData name="Edgardo Garciaherreros Barrera" userId="50297d75-cafc-4155-a0a0-c3f12c851f9e" providerId="ADAL" clId="{20C4D6F7-2C57-4AC7-A1F2-E8EF01A4FF5D}" dt="2021-11-24T12:06:53.356" v="1" actId="12385"/>
          <ac:graphicFrameMkLst>
            <pc:docMk/>
            <pc:sldMk cId="0" sldId="1703"/>
            <ac:graphicFrameMk id="8" creationId="{8B5C1ABA-B556-441D-8871-8390CB322962}"/>
          </ac:graphicFrameMkLst>
        </pc:graphicFrameChg>
      </pc:sldChg>
      <pc:sldChg chg="modSp add mod">
        <pc:chgData name="Edgardo Garciaherreros Barrera" userId="50297d75-cafc-4155-a0a0-c3f12c851f9e" providerId="ADAL" clId="{20C4D6F7-2C57-4AC7-A1F2-E8EF01A4FF5D}" dt="2021-11-24T12:19:17.089" v="92" actId="1076"/>
        <pc:sldMkLst>
          <pc:docMk/>
          <pc:sldMk cId="2692996024" sldId="1704"/>
        </pc:sldMkLst>
        <pc:spChg chg="mod">
          <ac:chgData name="Edgardo Garciaherreros Barrera" userId="50297d75-cafc-4155-a0a0-c3f12c851f9e" providerId="ADAL" clId="{20C4D6F7-2C57-4AC7-A1F2-E8EF01A4FF5D}" dt="2021-11-24T12:19:17.089" v="92" actId="1076"/>
          <ac:spMkLst>
            <pc:docMk/>
            <pc:sldMk cId="2692996024" sldId="1704"/>
            <ac:spMk id="11" creationId="{8981EBFB-C8A9-4836-889C-826FE7776CC4}"/>
          </ac:spMkLst>
        </pc:spChg>
      </pc:sldChg>
      <pc:sldChg chg="del">
        <pc:chgData name="Edgardo Garciaherreros Barrera" userId="50297d75-cafc-4155-a0a0-c3f12c851f9e" providerId="ADAL" clId="{20C4D6F7-2C57-4AC7-A1F2-E8EF01A4FF5D}" dt="2021-11-24T12:13:49.445" v="78" actId="47"/>
        <pc:sldMkLst>
          <pc:docMk/>
          <pc:sldMk cId="362772880" sldId="1707"/>
        </pc:sldMkLst>
      </pc:sldChg>
    </pc:docChg>
  </pc:docChgLst>
  <pc:docChgLst>
    <pc:chgData name="Adriana Milena Acosta Forero" userId="49263310-746c-4b49-8513-e9053293bdfe" providerId="ADAL" clId="{B3D9E907-9AB7-45FF-A9E6-0E089B8C5B8B}"/>
    <pc:docChg chg="undo redo custSel modSld sldOrd">
      <pc:chgData name="Adriana Milena Acosta Forero" userId="49263310-746c-4b49-8513-e9053293bdfe" providerId="ADAL" clId="{B3D9E907-9AB7-45FF-A9E6-0E089B8C5B8B}" dt="2021-11-25T16:08:48.317" v="365" actId="115"/>
      <pc:docMkLst>
        <pc:docMk/>
      </pc:docMkLst>
      <pc:sldChg chg="modSp mod">
        <pc:chgData name="Adriana Milena Acosta Forero" userId="49263310-746c-4b49-8513-e9053293bdfe" providerId="ADAL" clId="{B3D9E907-9AB7-45FF-A9E6-0E089B8C5B8B}" dt="2021-11-24T21:19:44.014" v="42" actId="1076"/>
        <pc:sldMkLst>
          <pc:docMk/>
          <pc:sldMk cId="0" sldId="259"/>
        </pc:sldMkLst>
        <pc:spChg chg="mod">
          <ac:chgData name="Adriana Milena Acosta Forero" userId="49263310-746c-4b49-8513-e9053293bdfe" providerId="ADAL" clId="{B3D9E907-9AB7-45FF-A9E6-0E089B8C5B8B}" dt="2021-11-24T21:19:44.014" v="42" actId="1076"/>
          <ac:spMkLst>
            <pc:docMk/>
            <pc:sldMk cId="0" sldId="259"/>
            <ac:spMk id="3" creationId="{6C9E0C39-8742-B14F-9B09-71798CFEC522}"/>
          </ac:spMkLst>
        </pc:spChg>
      </pc:sldChg>
      <pc:sldChg chg="addSp delSp modSp mod">
        <pc:chgData name="Adriana Milena Acosta Forero" userId="49263310-746c-4b49-8513-e9053293bdfe" providerId="ADAL" clId="{B3D9E907-9AB7-45FF-A9E6-0E089B8C5B8B}" dt="2021-11-24T21:52:10.217" v="334"/>
        <pc:sldMkLst>
          <pc:docMk/>
          <pc:sldMk cId="3214043996" sldId="266"/>
        </pc:sldMkLst>
        <pc:spChg chg="add del mod">
          <ac:chgData name="Adriana Milena Acosta Forero" userId="49263310-746c-4b49-8513-e9053293bdfe" providerId="ADAL" clId="{B3D9E907-9AB7-45FF-A9E6-0E089B8C5B8B}" dt="2021-11-24T21:52:09.892" v="333" actId="478"/>
          <ac:spMkLst>
            <pc:docMk/>
            <pc:sldMk cId="3214043996" sldId="266"/>
            <ac:spMk id="7" creationId="{B9F0C354-6FA2-48F0-B4D2-18945E9BD8FF}"/>
          </ac:spMkLst>
        </pc:spChg>
        <pc:spChg chg="add mod">
          <ac:chgData name="Adriana Milena Acosta Forero" userId="49263310-746c-4b49-8513-e9053293bdfe" providerId="ADAL" clId="{B3D9E907-9AB7-45FF-A9E6-0E089B8C5B8B}" dt="2021-11-24T21:52:10.217" v="334"/>
          <ac:spMkLst>
            <pc:docMk/>
            <pc:sldMk cId="3214043996" sldId="266"/>
            <ac:spMk id="8" creationId="{442DEE3B-D7D7-45AF-B6E5-3FD91CEAD213}"/>
          </ac:spMkLst>
        </pc:spChg>
        <pc:spChg chg="mod">
          <ac:chgData name="Adriana Milena Acosta Forero" userId="49263310-746c-4b49-8513-e9053293bdfe" providerId="ADAL" clId="{B3D9E907-9AB7-45FF-A9E6-0E089B8C5B8B}" dt="2021-11-24T21:34:03.900" v="217" actId="20577"/>
          <ac:spMkLst>
            <pc:docMk/>
            <pc:sldMk cId="3214043996" sldId="266"/>
            <ac:spMk id="10" creationId="{2A28F739-ECD2-4682-8921-4C7135E716E7}"/>
          </ac:spMkLst>
        </pc:spChg>
        <pc:spChg chg="mod">
          <ac:chgData name="Adriana Milena Acosta Forero" userId="49263310-746c-4b49-8513-e9053293bdfe" providerId="ADAL" clId="{B3D9E907-9AB7-45FF-A9E6-0E089B8C5B8B}" dt="2021-11-24T21:33:28.566" v="202" actId="20577"/>
          <ac:spMkLst>
            <pc:docMk/>
            <pc:sldMk cId="3214043996" sldId="266"/>
            <ac:spMk id="202" creationId="{00000000-0000-0000-0000-000000000000}"/>
          </ac:spMkLst>
        </pc:spChg>
      </pc:sldChg>
      <pc:sldChg chg="addSp delSp modSp mod">
        <pc:chgData name="Adriana Milena Acosta Forero" userId="49263310-746c-4b49-8513-e9053293bdfe" providerId="ADAL" clId="{B3D9E907-9AB7-45FF-A9E6-0E089B8C5B8B}" dt="2021-11-25T15:48:12.519" v="348" actId="113"/>
        <pc:sldMkLst>
          <pc:docMk/>
          <pc:sldMk cId="0" sldId="267"/>
        </pc:sldMkLst>
        <pc:spChg chg="mod">
          <ac:chgData name="Adriana Milena Acosta Forero" userId="49263310-746c-4b49-8513-e9053293bdfe" providerId="ADAL" clId="{B3D9E907-9AB7-45FF-A9E6-0E089B8C5B8B}" dt="2021-11-25T15:48:12.519" v="348" actId="113"/>
          <ac:spMkLst>
            <pc:docMk/>
            <pc:sldMk cId="0" sldId="267"/>
            <ac:spMk id="4" creationId="{C9B814F4-B0E6-9B4E-AAA4-EB499F3B76C4}"/>
          </ac:spMkLst>
        </pc:spChg>
        <pc:spChg chg="add del mod">
          <ac:chgData name="Adriana Milena Acosta Forero" userId="49263310-746c-4b49-8513-e9053293bdfe" providerId="ADAL" clId="{B3D9E907-9AB7-45FF-A9E6-0E089B8C5B8B}" dt="2021-11-24T21:51:57.268" v="323" actId="478"/>
          <ac:spMkLst>
            <pc:docMk/>
            <pc:sldMk cId="0" sldId="267"/>
            <ac:spMk id="6" creationId="{4F2A468C-8878-4787-A2B8-1CA37CCD96FB}"/>
          </ac:spMkLst>
        </pc:spChg>
        <pc:spChg chg="add mod">
          <ac:chgData name="Adriana Milena Acosta Forero" userId="49263310-746c-4b49-8513-e9053293bdfe" providerId="ADAL" clId="{B3D9E907-9AB7-45FF-A9E6-0E089B8C5B8B}" dt="2021-11-24T21:51:57.593" v="324"/>
          <ac:spMkLst>
            <pc:docMk/>
            <pc:sldMk cId="0" sldId="267"/>
            <ac:spMk id="7" creationId="{6DD15F93-0BA2-42B6-B58E-F98F336BCABF}"/>
          </ac:spMkLst>
        </pc:spChg>
        <pc:spChg chg="mod">
          <ac:chgData name="Adriana Milena Acosta Forero" userId="49263310-746c-4b49-8513-e9053293bdfe" providerId="ADAL" clId="{B3D9E907-9AB7-45FF-A9E6-0E089B8C5B8B}" dt="2021-11-24T21:27:43.485" v="118" actId="1076"/>
          <ac:spMkLst>
            <pc:docMk/>
            <pc:sldMk cId="0" sldId="267"/>
            <ac:spMk id="209" creationId="{00000000-0000-0000-0000-000000000000}"/>
          </ac:spMkLst>
        </pc:spChg>
      </pc:sldChg>
      <pc:sldChg chg="addSp modSp mod">
        <pc:chgData name="Adriana Milena Acosta Forero" userId="49263310-746c-4b49-8513-e9053293bdfe" providerId="ADAL" clId="{B3D9E907-9AB7-45FF-A9E6-0E089B8C5B8B}" dt="2021-11-24T21:51:47.847" v="320" actId="207"/>
        <pc:sldMkLst>
          <pc:docMk/>
          <pc:sldMk cId="0" sldId="268"/>
        </pc:sldMkLst>
        <pc:spChg chg="add mod">
          <ac:chgData name="Adriana Milena Acosta Forero" userId="49263310-746c-4b49-8513-e9053293bdfe" providerId="ADAL" clId="{B3D9E907-9AB7-45FF-A9E6-0E089B8C5B8B}" dt="2021-11-24T21:51:47.847" v="320" actId="207"/>
          <ac:spMkLst>
            <pc:docMk/>
            <pc:sldMk cId="0" sldId="268"/>
            <ac:spMk id="6" creationId="{F7D2F148-B8B9-40F4-810E-F00B968A16E8}"/>
          </ac:spMkLst>
        </pc:spChg>
        <pc:spChg chg="mod">
          <ac:chgData name="Adriana Milena Acosta Forero" userId="49263310-746c-4b49-8513-e9053293bdfe" providerId="ADAL" clId="{B3D9E907-9AB7-45FF-A9E6-0E089B8C5B8B}" dt="2021-11-24T21:32:16.214" v="187" actId="207"/>
          <ac:spMkLst>
            <pc:docMk/>
            <pc:sldMk cId="0" sldId="268"/>
            <ac:spMk id="214" creationId="{00000000-0000-0000-0000-000000000000}"/>
          </ac:spMkLst>
        </pc:spChg>
        <pc:spChg chg="mod">
          <ac:chgData name="Adriana Milena Acosta Forero" userId="49263310-746c-4b49-8513-e9053293bdfe" providerId="ADAL" clId="{B3D9E907-9AB7-45FF-A9E6-0E089B8C5B8B}" dt="2021-11-24T21:20:21.093" v="61" actId="2711"/>
          <ac:spMkLst>
            <pc:docMk/>
            <pc:sldMk cId="0" sldId="268"/>
            <ac:spMk id="216" creationId="{00000000-0000-0000-0000-000000000000}"/>
          </ac:spMkLst>
        </pc:spChg>
      </pc:sldChg>
      <pc:sldChg chg="addSp delSp modSp mod">
        <pc:chgData name="Adriana Milena Acosta Forero" userId="49263310-746c-4b49-8513-e9053293bdfe" providerId="ADAL" clId="{B3D9E907-9AB7-45FF-A9E6-0E089B8C5B8B}" dt="2021-11-24T21:55:46.240" v="347" actId="2711"/>
        <pc:sldMkLst>
          <pc:docMk/>
          <pc:sldMk cId="791129473" sldId="306"/>
        </pc:sldMkLst>
        <pc:spChg chg="mod">
          <ac:chgData name="Adriana Milena Acosta Forero" userId="49263310-746c-4b49-8513-e9053293bdfe" providerId="ADAL" clId="{B3D9E907-9AB7-45FF-A9E6-0E089B8C5B8B}" dt="2021-11-24T21:55:46.240" v="347" actId="2711"/>
          <ac:spMkLst>
            <pc:docMk/>
            <pc:sldMk cId="791129473" sldId="306"/>
            <ac:spMk id="4" creationId="{00000000-0000-0000-0000-000000000000}"/>
          </ac:spMkLst>
        </pc:spChg>
        <pc:spChg chg="add del mod">
          <ac:chgData name="Adriana Milena Acosta Forero" userId="49263310-746c-4b49-8513-e9053293bdfe" providerId="ADAL" clId="{B3D9E907-9AB7-45FF-A9E6-0E089B8C5B8B}" dt="2021-11-24T21:52:24.131" v="345" actId="478"/>
          <ac:spMkLst>
            <pc:docMk/>
            <pc:sldMk cId="791129473" sldId="306"/>
            <ac:spMk id="6" creationId="{69081BFD-2BA5-4C66-99F4-E7FE4A355DC8}"/>
          </ac:spMkLst>
        </pc:spChg>
        <pc:spChg chg="add mod">
          <ac:chgData name="Adriana Milena Acosta Forero" userId="49263310-746c-4b49-8513-e9053293bdfe" providerId="ADAL" clId="{B3D9E907-9AB7-45FF-A9E6-0E089B8C5B8B}" dt="2021-11-24T21:52:24.465" v="346"/>
          <ac:spMkLst>
            <pc:docMk/>
            <pc:sldMk cId="791129473" sldId="306"/>
            <ac:spMk id="7" creationId="{529FCB46-CA1D-4869-BDB0-4239898126C4}"/>
          </ac:spMkLst>
        </pc:spChg>
      </pc:sldChg>
      <pc:sldChg chg="addSp delSp modSp mod ord">
        <pc:chgData name="Adriana Milena Acosta Forero" userId="49263310-746c-4b49-8513-e9053293bdfe" providerId="ADAL" clId="{B3D9E907-9AB7-45FF-A9E6-0E089B8C5B8B}" dt="2021-11-24T21:52:16.311" v="338"/>
        <pc:sldMkLst>
          <pc:docMk/>
          <pc:sldMk cId="1787894171" sldId="443"/>
        </pc:sldMkLst>
        <pc:spChg chg="add del mod">
          <ac:chgData name="Adriana Milena Acosta Forero" userId="49263310-746c-4b49-8513-e9053293bdfe" providerId="ADAL" clId="{B3D9E907-9AB7-45FF-A9E6-0E089B8C5B8B}" dt="2021-11-24T21:52:16.053" v="337" actId="478"/>
          <ac:spMkLst>
            <pc:docMk/>
            <pc:sldMk cId="1787894171" sldId="443"/>
            <ac:spMk id="6" creationId="{5C1493D0-0822-4C2F-B873-2F5EC0E1A910}"/>
          </ac:spMkLst>
        </pc:spChg>
        <pc:spChg chg="add mod">
          <ac:chgData name="Adriana Milena Acosta Forero" userId="49263310-746c-4b49-8513-e9053293bdfe" providerId="ADAL" clId="{B3D9E907-9AB7-45FF-A9E6-0E089B8C5B8B}" dt="2021-11-24T21:52:16.311" v="338"/>
          <ac:spMkLst>
            <pc:docMk/>
            <pc:sldMk cId="1787894171" sldId="443"/>
            <ac:spMk id="7" creationId="{28BD797D-BEBA-47F5-B0A6-D6FD05859598}"/>
          </ac:spMkLst>
        </pc:spChg>
        <pc:spChg chg="mod">
          <ac:chgData name="Adriana Milena Acosta Forero" userId="49263310-746c-4b49-8513-e9053293bdfe" providerId="ADAL" clId="{B3D9E907-9AB7-45FF-A9E6-0E089B8C5B8B}" dt="2021-11-24T21:43:54.353" v="274" actId="2711"/>
          <ac:spMkLst>
            <pc:docMk/>
            <pc:sldMk cId="1787894171" sldId="443"/>
            <ac:spMk id="12" creationId="{26D95A0E-49BA-9846-A9FA-381E19E27927}"/>
          </ac:spMkLst>
        </pc:spChg>
        <pc:picChg chg="mod">
          <ac:chgData name="Adriana Milena Acosta Forero" userId="49263310-746c-4b49-8513-e9053293bdfe" providerId="ADAL" clId="{B3D9E907-9AB7-45FF-A9E6-0E089B8C5B8B}" dt="2021-11-24T21:51:27.467" v="319" actId="14100"/>
          <ac:picMkLst>
            <pc:docMk/>
            <pc:sldMk cId="1787894171" sldId="443"/>
            <ac:picMk id="11" creationId="{CA643D49-653D-48BB-9A1B-A71CE6212B10}"/>
          </ac:picMkLst>
        </pc:picChg>
      </pc:sldChg>
      <pc:sldChg chg="addSp delSp modSp mod">
        <pc:chgData name="Adriana Milena Acosta Forero" userId="49263310-746c-4b49-8513-e9053293bdfe" providerId="ADAL" clId="{B3D9E907-9AB7-45FF-A9E6-0E089B8C5B8B}" dt="2021-11-24T21:52:20.458" v="342"/>
        <pc:sldMkLst>
          <pc:docMk/>
          <pc:sldMk cId="1901546873" sldId="581"/>
        </pc:sldMkLst>
        <pc:spChg chg="add del mod">
          <ac:chgData name="Adriana Milena Acosta Forero" userId="49263310-746c-4b49-8513-e9053293bdfe" providerId="ADAL" clId="{B3D9E907-9AB7-45FF-A9E6-0E089B8C5B8B}" dt="2021-11-24T21:52:20.164" v="341" actId="478"/>
          <ac:spMkLst>
            <pc:docMk/>
            <pc:sldMk cId="1901546873" sldId="581"/>
            <ac:spMk id="5" creationId="{443294F3-1304-44E1-B5F1-B5F8B4615CA6}"/>
          </ac:spMkLst>
        </pc:spChg>
        <pc:spChg chg="mod">
          <ac:chgData name="Adriana Milena Acosta Forero" userId="49263310-746c-4b49-8513-e9053293bdfe" providerId="ADAL" clId="{B3D9E907-9AB7-45FF-A9E6-0E089B8C5B8B}" dt="2021-11-24T21:44:25.855" v="283" actId="2711"/>
          <ac:spMkLst>
            <pc:docMk/>
            <pc:sldMk cId="1901546873" sldId="581"/>
            <ac:spMk id="6" creationId="{00000000-0000-0000-0000-000000000000}"/>
          </ac:spMkLst>
        </pc:spChg>
        <pc:spChg chg="add mod">
          <ac:chgData name="Adriana Milena Acosta Forero" userId="49263310-746c-4b49-8513-e9053293bdfe" providerId="ADAL" clId="{B3D9E907-9AB7-45FF-A9E6-0E089B8C5B8B}" dt="2021-11-24T21:52:20.458" v="342"/>
          <ac:spMkLst>
            <pc:docMk/>
            <pc:sldMk cId="1901546873" sldId="581"/>
            <ac:spMk id="7" creationId="{9BC36AC9-68C4-4B67-9F51-5191603CBEA4}"/>
          </ac:spMkLst>
        </pc:spChg>
        <pc:spChg chg="mod">
          <ac:chgData name="Adriana Milena Acosta Forero" userId="49263310-746c-4b49-8513-e9053293bdfe" providerId="ADAL" clId="{B3D9E907-9AB7-45FF-A9E6-0E089B8C5B8B}" dt="2021-11-24T21:50:08.803" v="309" actId="20577"/>
          <ac:spMkLst>
            <pc:docMk/>
            <pc:sldMk cId="1901546873" sldId="581"/>
            <ac:spMk id="11" creationId="{8981EBFB-C8A9-4836-889C-826FE7776CC4}"/>
          </ac:spMkLst>
        </pc:spChg>
      </pc:sldChg>
      <pc:sldChg chg="addSp delSp modSp mod">
        <pc:chgData name="Adriana Milena Acosta Forero" userId="49263310-746c-4b49-8513-e9053293bdfe" providerId="ADAL" clId="{B3D9E907-9AB7-45FF-A9E6-0E089B8C5B8B}" dt="2021-11-24T21:52:13.984" v="336"/>
        <pc:sldMkLst>
          <pc:docMk/>
          <pc:sldMk cId="607840354" sldId="781"/>
        </pc:sldMkLst>
        <pc:spChg chg="add del mod">
          <ac:chgData name="Adriana Milena Acosta Forero" userId="49263310-746c-4b49-8513-e9053293bdfe" providerId="ADAL" clId="{B3D9E907-9AB7-45FF-A9E6-0E089B8C5B8B}" dt="2021-11-24T21:52:13.563" v="335" actId="478"/>
          <ac:spMkLst>
            <pc:docMk/>
            <pc:sldMk cId="607840354" sldId="781"/>
            <ac:spMk id="7" creationId="{9CCCD95B-64CF-4168-AD0F-40F8DA7BE017}"/>
          </ac:spMkLst>
        </pc:spChg>
        <pc:spChg chg="add mod">
          <ac:chgData name="Adriana Milena Acosta Forero" userId="49263310-746c-4b49-8513-e9053293bdfe" providerId="ADAL" clId="{B3D9E907-9AB7-45FF-A9E6-0E089B8C5B8B}" dt="2021-11-24T21:52:13.984" v="336"/>
          <ac:spMkLst>
            <pc:docMk/>
            <pc:sldMk cId="607840354" sldId="781"/>
            <ac:spMk id="8" creationId="{74E48634-BD50-4E98-8BB1-86BE5CF4582E}"/>
          </ac:spMkLst>
        </pc:spChg>
        <pc:spChg chg="mod">
          <ac:chgData name="Adriana Milena Acosta Forero" userId="49263310-746c-4b49-8513-e9053293bdfe" providerId="ADAL" clId="{B3D9E907-9AB7-45FF-A9E6-0E089B8C5B8B}" dt="2021-11-24T21:41:36.036" v="267" actId="1035"/>
          <ac:spMkLst>
            <pc:docMk/>
            <pc:sldMk cId="607840354" sldId="781"/>
            <ac:spMk id="57" creationId="{B7B7F925-FFE0-460A-AB12-14DB51FD5384}"/>
          </ac:spMkLst>
        </pc:spChg>
        <pc:graphicFrameChg chg="mod modGraphic">
          <ac:chgData name="Adriana Milena Acosta Forero" userId="49263310-746c-4b49-8513-e9053293bdfe" providerId="ADAL" clId="{B3D9E907-9AB7-45FF-A9E6-0E089B8C5B8B}" dt="2021-11-24T21:42:05.948" v="270" actId="113"/>
          <ac:graphicFrameMkLst>
            <pc:docMk/>
            <pc:sldMk cId="607840354" sldId="781"/>
            <ac:graphicFrameMk id="6" creationId="{DDF03D46-3753-4599-A281-2320330906EC}"/>
          </ac:graphicFrameMkLst>
        </pc:graphicFrameChg>
      </pc:sldChg>
      <pc:sldChg chg="addSp delSp modSp mod">
        <pc:chgData name="Adriana Milena Acosta Forero" userId="49263310-746c-4b49-8513-e9053293bdfe" providerId="ADAL" clId="{B3D9E907-9AB7-45FF-A9E6-0E089B8C5B8B}" dt="2021-11-24T21:52:18.385" v="340"/>
        <pc:sldMkLst>
          <pc:docMk/>
          <pc:sldMk cId="1233102265" sldId="782"/>
        </pc:sldMkLst>
        <pc:spChg chg="add del mod">
          <ac:chgData name="Adriana Milena Acosta Forero" userId="49263310-746c-4b49-8513-e9053293bdfe" providerId="ADAL" clId="{B3D9E907-9AB7-45FF-A9E6-0E089B8C5B8B}" dt="2021-11-24T21:52:18.045" v="339" actId="478"/>
          <ac:spMkLst>
            <pc:docMk/>
            <pc:sldMk cId="1233102265" sldId="782"/>
            <ac:spMk id="6" creationId="{405712A4-23A4-4550-BFAB-20F0B260BA15}"/>
          </ac:spMkLst>
        </pc:spChg>
        <pc:spChg chg="add mod">
          <ac:chgData name="Adriana Milena Acosta Forero" userId="49263310-746c-4b49-8513-e9053293bdfe" providerId="ADAL" clId="{B3D9E907-9AB7-45FF-A9E6-0E089B8C5B8B}" dt="2021-11-24T21:52:18.385" v="340"/>
          <ac:spMkLst>
            <pc:docMk/>
            <pc:sldMk cId="1233102265" sldId="782"/>
            <ac:spMk id="9" creationId="{1DC18C9A-9254-4E91-A77B-7BF8259BBCDF}"/>
          </ac:spMkLst>
        </pc:spChg>
        <pc:spChg chg="mod">
          <ac:chgData name="Adriana Milena Acosta Forero" userId="49263310-746c-4b49-8513-e9053293bdfe" providerId="ADAL" clId="{B3D9E907-9AB7-45FF-A9E6-0E089B8C5B8B}" dt="2021-11-24T21:44:07.107" v="277" actId="1076"/>
          <ac:spMkLst>
            <pc:docMk/>
            <pc:sldMk cId="1233102265" sldId="782"/>
            <ac:spMk id="12" creationId="{AD76D1F5-08AA-4A05-81C6-D550C146201D}"/>
          </ac:spMkLst>
        </pc:spChg>
      </pc:sldChg>
      <pc:sldChg chg="addSp delSp modSp mod">
        <pc:chgData name="Adriana Milena Acosta Forero" userId="49263310-746c-4b49-8513-e9053293bdfe" providerId="ADAL" clId="{B3D9E907-9AB7-45FF-A9E6-0E089B8C5B8B}" dt="2021-11-25T16:08:48.317" v="365" actId="115"/>
        <pc:sldMkLst>
          <pc:docMk/>
          <pc:sldMk cId="4069941952" sldId="788"/>
        </pc:sldMkLst>
        <pc:spChg chg="mod">
          <ac:chgData name="Adriana Milena Acosta Forero" userId="49263310-746c-4b49-8513-e9053293bdfe" providerId="ADAL" clId="{B3D9E907-9AB7-45FF-A9E6-0E089B8C5B8B}" dt="2021-11-24T21:28:01.787" v="124" actId="2711"/>
          <ac:spMkLst>
            <pc:docMk/>
            <pc:sldMk cId="4069941952" sldId="788"/>
            <ac:spMk id="3" creationId="{80529D87-A251-42BE-B636-03A676DB1D47}"/>
          </ac:spMkLst>
        </pc:spChg>
        <pc:spChg chg="mod">
          <ac:chgData name="Adriana Milena Acosta Forero" userId="49263310-746c-4b49-8513-e9053293bdfe" providerId="ADAL" clId="{B3D9E907-9AB7-45FF-A9E6-0E089B8C5B8B}" dt="2021-11-25T16:08:48.317" v="365" actId="115"/>
          <ac:spMkLst>
            <pc:docMk/>
            <pc:sldMk cId="4069941952" sldId="788"/>
            <ac:spMk id="13" creationId="{67DE5F4F-0FC6-4FC1-B4FD-15335831096A}"/>
          </ac:spMkLst>
        </pc:spChg>
        <pc:spChg chg="add del mod">
          <ac:chgData name="Adriana Milena Acosta Forero" userId="49263310-746c-4b49-8513-e9053293bdfe" providerId="ADAL" clId="{B3D9E907-9AB7-45FF-A9E6-0E089B8C5B8B}" dt="2021-11-24T21:51:59.940" v="325" actId="478"/>
          <ac:spMkLst>
            <pc:docMk/>
            <pc:sldMk cId="4069941952" sldId="788"/>
            <ac:spMk id="14" creationId="{316C8A6E-DE9F-4BDD-8D1A-738B4055E9E4}"/>
          </ac:spMkLst>
        </pc:spChg>
        <pc:spChg chg="add mod">
          <ac:chgData name="Adriana Milena Acosta Forero" userId="49263310-746c-4b49-8513-e9053293bdfe" providerId="ADAL" clId="{B3D9E907-9AB7-45FF-A9E6-0E089B8C5B8B}" dt="2021-11-24T21:52:00.248" v="326"/>
          <ac:spMkLst>
            <pc:docMk/>
            <pc:sldMk cId="4069941952" sldId="788"/>
            <ac:spMk id="15" creationId="{2EB97346-80E5-4FD8-B93F-1268D2B07ADF}"/>
          </ac:spMkLst>
        </pc:spChg>
        <pc:picChg chg="mod">
          <ac:chgData name="Adriana Milena Acosta Forero" userId="49263310-746c-4b49-8513-e9053293bdfe" providerId="ADAL" clId="{B3D9E907-9AB7-45FF-A9E6-0E089B8C5B8B}" dt="2021-11-24T21:28:56.141" v="135" actId="1076"/>
          <ac:picMkLst>
            <pc:docMk/>
            <pc:sldMk cId="4069941952" sldId="788"/>
            <ac:picMk id="8" creationId="{364D8EA3-08C4-4CCC-BCBB-B188DC3AFBA8}"/>
          </ac:picMkLst>
        </pc:picChg>
        <pc:picChg chg="mod">
          <ac:chgData name="Adriana Milena Acosta Forero" userId="49263310-746c-4b49-8513-e9053293bdfe" providerId="ADAL" clId="{B3D9E907-9AB7-45FF-A9E6-0E089B8C5B8B}" dt="2021-11-24T21:28:57.917" v="136" actId="1076"/>
          <ac:picMkLst>
            <pc:docMk/>
            <pc:sldMk cId="4069941952" sldId="788"/>
            <ac:picMk id="11" creationId="{A2F32BCD-C310-40D7-B369-7700EC1CCDE4}"/>
          </ac:picMkLst>
        </pc:picChg>
      </pc:sldChg>
      <pc:sldChg chg="addSp delSp modSp mod">
        <pc:chgData name="Adriana Milena Acosta Forero" userId="49263310-746c-4b49-8513-e9053293bdfe" providerId="ADAL" clId="{B3D9E907-9AB7-45FF-A9E6-0E089B8C5B8B}" dt="2021-11-24T21:52:07.975" v="332"/>
        <pc:sldMkLst>
          <pc:docMk/>
          <pc:sldMk cId="127683262" sldId="1186"/>
        </pc:sldMkLst>
        <pc:spChg chg="mod">
          <ac:chgData name="Adriana Milena Acosta Forero" userId="49263310-746c-4b49-8513-e9053293bdfe" providerId="ADAL" clId="{B3D9E907-9AB7-45FF-A9E6-0E089B8C5B8B}" dt="2021-11-24T21:30:41.157" v="166" actId="1076"/>
          <ac:spMkLst>
            <pc:docMk/>
            <pc:sldMk cId="127683262" sldId="1186"/>
            <ac:spMk id="3" creationId="{522DC587-F095-4E13-BAF6-3025EBF7A2E2}"/>
          </ac:spMkLst>
        </pc:spChg>
        <pc:spChg chg="mod">
          <ac:chgData name="Adriana Milena Acosta Forero" userId="49263310-746c-4b49-8513-e9053293bdfe" providerId="ADAL" clId="{B3D9E907-9AB7-45FF-A9E6-0E089B8C5B8B}" dt="2021-11-24T21:31:07.415" v="175" actId="113"/>
          <ac:spMkLst>
            <pc:docMk/>
            <pc:sldMk cId="127683262" sldId="1186"/>
            <ac:spMk id="4" creationId="{2C5359B8-5D74-4FF6-BD1E-F611D7F8DD63}"/>
          </ac:spMkLst>
        </pc:spChg>
        <pc:spChg chg="add del mod">
          <ac:chgData name="Adriana Milena Acosta Forero" userId="49263310-746c-4b49-8513-e9053293bdfe" providerId="ADAL" clId="{B3D9E907-9AB7-45FF-A9E6-0E089B8C5B8B}" dt="2021-11-24T21:52:07.491" v="331" actId="478"/>
          <ac:spMkLst>
            <pc:docMk/>
            <pc:sldMk cId="127683262" sldId="1186"/>
            <ac:spMk id="8" creationId="{5A694422-445B-4671-8A66-5837D6810C61}"/>
          </ac:spMkLst>
        </pc:spChg>
        <pc:spChg chg="add mod">
          <ac:chgData name="Adriana Milena Acosta Forero" userId="49263310-746c-4b49-8513-e9053293bdfe" providerId="ADAL" clId="{B3D9E907-9AB7-45FF-A9E6-0E089B8C5B8B}" dt="2021-11-24T21:52:07.975" v="332"/>
          <ac:spMkLst>
            <pc:docMk/>
            <pc:sldMk cId="127683262" sldId="1186"/>
            <ac:spMk id="9" creationId="{84F5E3E2-CCB8-40C0-9DB6-70FEC62A1181}"/>
          </ac:spMkLst>
        </pc:spChg>
      </pc:sldChg>
      <pc:sldChg chg="addSp delSp modSp mod">
        <pc:chgData name="Adriana Milena Acosta Forero" userId="49263310-746c-4b49-8513-e9053293bdfe" providerId="ADAL" clId="{B3D9E907-9AB7-45FF-A9E6-0E089B8C5B8B}" dt="2021-11-24T21:52:03.064" v="328"/>
        <pc:sldMkLst>
          <pc:docMk/>
          <pc:sldMk cId="2397873178" sldId="1242"/>
        </pc:sldMkLst>
        <pc:spChg chg="mod">
          <ac:chgData name="Adriana Milena Acosta Forero" userId="49263310-746c-4b49-8513-e9053293bdfe" providerId="ADAL" clId="{B3D9E907-9AB7-45FF-A9E6-0E089B8C5B8B}" dt="2021-11-24T21:29:16.341" v="140" actId="1076"/>
          <ac:spMkLst>
            <pc:docMk/>
            <pc:sldMk cId="2397873178" sldId="1242"/>
            <ac:spMk id="2" creationId="{99C5E0F9-DE2B-4BED-AE6A-795D79B450D0}"/>
          </ac:spMkLst>
        </pc:spChg>
        <pc:spChg chg="add del mod">
          <ac:chgData name="Adriana Milena Acosta Forero" userId="49263310-746c-4b49-8513-e9053293bdfe" providerId="ADAL" clId="{B3D9E907-9AB7-45FF-A9E6-0E089B8C5B8B}" dt="2021-11-24T21:52:02.764" v="327" actId="478"/>
          <ac:spMkLst>
            <pc:docMk/>
            <pc:sldMk cId="2397873178" sldId="1242"/>
            <ac:spMk id="5" creationId="{D5C77930-0309-4773-9B47-94C16986D173}"/>
          </ac:spMkLst>
        </pc:spChg>
        <pc:spChg chg="add mod">
          <ac:chgData name="Adriana Milena Acosta Forero" userId="49263310-746c-4b49-8513-e9053293bdfe" providerId="ADAL" clId="{B3D9E907-9AB7-45FF-A9E6-0E089B8C5B8B}" dt="2021-11-24T21:52:03.064" v="328"/>
          <ac:spMkLst>
            <pc:docMk/>
            <pc:sldMk cId="2397873178" sldId="1242"/>
            <ac:spMk id="7" creationId="{6508DD4F-2E5E-4255-BB99-259394DC13C6}"/>
          </ac:spMkLst>
        </pc:spChg>
        <pc:spChg chg="mod">
          <ac:chgData name="Adriana Milena Acosta Forero" userId="49263310-746c-4b49-8513-e9053293bdfe" providerId="ADAL" clId="{B3D9E907-9AB7-45FF-A9E6-0E089B8C5B8B}" dt="2021-11-24T21:31:33.767" v="181" actId="207"/>
          <ac:spMkLst>
            <pc:docMk/>
            <pc:sldMk cId="2397873178" sldId="1242"/>
            <ac:spMk id="9" creationId="{6F35F68E-5B2A-401F-9B99-F28657330274}"/>
          </ac:spMkLst>
        </pc:spChg>
      </pc:sldChg>
      <pc:sldChg chg="addSp delSp modSp mod">
        <pc:chgData name="Adriana Milena Acosta Forero" userId="49263310-746c-4b49-8513-e9053293bdfe" providerId="ADAL" clId="{B3D9E907-9AB7-45FF-A9E6-0E089B8C5B8B}" dt="2021-11-24T21:52:05.201" v="330"/>
        <pc:sldMkLst>
          <pc:docMk/>
          <pc:sldMk cId="3168406994" sldId="1244"/>
        </pc:sldMkLst>
        <pc:spChg chg="add del mod">
          <ac:chgData name="Adriana Milena Acosta Forero" userId="49263310-746c-4b49-8513-e9053293bdfe" providerId="ADAL" clId="{B3D9E907-9AB7-45FF-A9E6-0E089B8C5B8B}" dt="2021-11-24T21:52:04.917" v="329" actId="478"/>
          <ac:spMkLst>
            <pc:docMk/>
            <pc:sldMk cId="3168406994" sldId="1244"/>
            <ac:spMk id="5" creationId="{46E373F2-205A-40FA-9224-45A47BE73AAC}"/>
          </ac:spMkLst>
        </pc:spChg>
        <pc:spChg chg="add mod">
          <ac:chgData name="Adriana Milena Acosta Forero" userId="49263310-746c-4b49-8513-e9053293bdfe" providerId="ADAL" clId="{B3D9E907-9AB7-45FF-A9E6-0E089B8C5B8B}" dt="2021-11-24T21:52:05.201" v="330"/>
          <ac:spMkLst>
            <pc:docMk/>
            <pc:sldMk cId="3168406994" sldId="1244"/>
            <ac:spMk id="6" creationId="{684411F2-FD04-48EC-9089-073DB8B213C9}"/>
          </ac:spMkLst>
        </pc:spChg>
        <pc:spChg chg="mod">
          <ac:chgData name="Adriana Milena Acosta Forero" userId="49263310-746c-4b49-8513-e9053293bdfe" providerId="ADAL" clId="{B3D9E907-9AB7-45FF-A9E6-0E089B8C5B8B}" dt="2021-11-24T21:32:53.952" v="197" actId="6549"/>
          <ac:spMkLst>
            <pc:docMk/>
            <pc:sldMk cId="3168406994" sldId="1244"/>
            <ac:spMk id="11" creationId="{C4446BEC-E3B0-434D-BAA0-02F2A33B741D}"/>
          </ac:spMkLst>
        </pc:spChg>
        <pc:spChg chg="mod">
          <ac:chgData name="Adriana Milena Acosta Forero" userId="49263310-746c-4b49-8513-e9053293bdfe" providerId="ADAL" clId="{B3D9E907-9AB7-45FF-A9E6-0E089B8C5B8B}" dt="2021-11-24T21:32:49.301" v="194" actId="1076"/>
          <ac:spMkLst>
            <pc:docMk/>
            <pc:sldMk cId="3168406994" sldId="1244"/>
            <ac:spMk id="245" creationId="{00000000-0000-0000-0000-000000000000}"/>
          </ac:spMkLst>
        </pc:spChg>
        <pc:picChg chg="mod">
          <ac:chgData name="Adriana Milena Acosta Forero" userId="49263310-746c-4b49-8513-e9053293bdfe" providerId="ADAL" clId="{B3D9E907-9AB7-45FF-A9E6-0E089B8C5B8B}" dt="2021-11-24T21:32:42.397" v="192" actId="14100"/>
          <ac:picMkLst>
            <pc:docMk/>
            <pc:sldMk cId="3168406994" sldId="1244"/>
            <ac:picMk id="4" creationId="{03CEA5D4-A3E6-4066-9E9C-9E775FDB57A6}"/>
          </ac:picMkLst>
        </pc:picChg>
      </pc:sldChg>
      <pc:sldChg chg="addSp delSp modSp mod">
        <pc:chgData name="Adriana Milena Acosta Forero" userId="49263310-746c-4b49-8513-e9053293bdfe" providerId="ADAL" clId="{B3D9E907-9AB7-45FF-A9E6-0E089B8C5B8B}" dt="2021-11-24T21:51:54.538" v="322"/>
        <pc:sldMkLst>
          <pc:docMk/>
          <pc:sldMk cId="0" sldId="1703"/>
        </pc:sldMkLst>
        <pc:spChg chg="add del mod">
          <ac:chgData name="Adriana Milena Acosta Forero" userId="49263310-746c-4b49-8513-e9053293bdfe" providerId="ADAL" clId="{B3D9E907-9AB7-45FF-A9E6-0E089B8C5B8B}" dt="2021-11-24T21:51:53.996" v="321" actId="478"/>
          <ac:spMkLst>
            <pc:docMk/>
            <pc:sldMk cId="0" sldId="1703"/>
            <ac:spMk id="5" creationId="{588CCB23-1E85-427C-83EF-DA0FFE63EC55}"/>
          </ac:spMkLst>
        </pc:spChg>
        <pc:spChg chg="add mod">
          <ac:chgData name="Adriana Milena Acosta Forero" userId="49263310-746c-4b49-8513-e9053293bdfe" providerId="ADAL" clId="{B3D9E907-9AB7-45FF-A9E6-0E089B8C5B8B}" dt="2021-11-24T21:51:54.538" v="322"/>
          <ac:spMkLst>
            <pc:docMk/>
            <pc:sldMk cId="0" sldId="1703"/>
            <ac:spMk id="6" creationId="{A46E824F-567E-4284-A060-E4B42A21C247}"/>
          </ac:spMkLst>
        </pc:spChg>
        <pc:spChg chg="mod">
          <ac:chgData name="Adriana Milena Acosta Forero" userId="49263310-746c-4b49-8513-e9053293bdfe" providerId="ADAL" clId="{B3D9E907-9AB7-45FF-A9E6-0E089B8C5B8B}" dt="2021-11-24T21:21:50.658" v="95" actId="20577"/>
          <ac:spMkLst>
            <pc:docMk/>
            <pc:sldMk cId="0" sldId="1703"/>
            <ac:spMk id="202" creationId="{00000000-0000-0000-0000-000000000000}"/>
          </ac:spMkLst>
        </pc:spChg>
        <pc:graphicFrameChg chg="mod modGraphic">
          <ac:chgData name="Adriana Milena Acosta Forero" userId="49263310-746c-4b49-8513-e9053293bdfe" providerId="ADAL" clId="{B3D9E907-9AB7-45FF-A9E6-0E089B8C5B8B}" dt="2021-11-24T21:27:06.104" v="117" actId="404"/>
          <ac:graphicFrameMkLst>
            <pc:docMk/>
            <pc:sldMk cId="0" sldId="1703"/>
            <ac:graphicFrameMk id="8" creationId="{8B5C1ABA-B556-441D-8871-8390CB322962}"/>
          </ac:graphicFrameMkLst>
        </pc:graphicFrameChg>
      </pc:sldChg>
      <pc:sldChg chg="addSp delSp modSp mod">
        <pc:chgData name="Adriana Milena Acosta Forero" userId="49263310-746c-4b49-8513-e9053293bdfe" providerId="ADAL" clId="{B3D9E907-9AB7-45FF-A9E6-0E089B8C5B8B}" dt="2021-11-24T21:52:22.369" v="344"/>
        <pc:sldMkLst>
          <pc:docMk/>
          <pc:sldMk cId="2692996024" sldId="1704"/>
        </pc:sldMkLst>
        <pc:spChg chg="add del mod">
          <ac:chgData name="Adriana Milena Acosta Forero" userId="49263310-746c-4b49-8513-e9053293bdfe" providerId="ADAL" clId="{B3D9E907-9AB7-45FF-A9E6-0E089B8C5B8B}" dt="2021-11-24T21:52:22.026" v="343" actId="478"/>
          <ac:spMkLst>
            <pc:docMk/>
            <pc:sldMk cId="2692996024" sldId="1704"/>
            <ac:spMk id="5" creationId="{76B25BE5-24AF-43A2-A2ED-762CA2626BE9}"/>
          </ac:spMkLst>
        </pc:spChg>
        <pc:spChg chg="mod">
          <ac:chgData name="Adriana Milena Acosta Forero" userId="49263310-746c-4b49-8513-e9053293bdfe" providerId="ADAL" clId="{B3D9E907-9AB7-45FF-A9E6-0E089B8C5B8B}" dt="2021-11-24T21:50:31.889" v="313" actId="2711"/>
          <ac:spMkLst>
            <pc:docMk/>
            <pc:sldMk cId="2692996024" sldId="1704"/>
            <ac:spMk id="6" creationId="{00000000-0000-0000-0000-000000000000}"/>
          </ac:spMkLst>
        </pc:spChg>
        <pc:spChg chg="add mod">
          <ac:chgData name="Adriana Milena Acosta Forero" userId="49263310-746c-4b49-8513-e9053293bdfe" providerId="ADAL" clId="{B3D9E907-9AB7-45FF-A9E6-0E089B8C5B8B}" dt="2021-11-24T21:52:22.369" v="344"/>
          <ac:spMkLst>
            <pc:docMk/>
            <pc:sldMk cId="2692996024" sldId="1704"/>
            <ac:spMk id="7" creationId="{FCBD9C28-C1BB-44CB-A942-99C2441805AE}"/>
          </ac:spMkLst>
        </pc:spChg>
        <pc:spChg chg="mod">
          <ac:chgData name="Adriana Milena Acosta Forero" userId="49263310-746c-4b49-8513-e9053293bdfe" providerId="ADAL" clId="{B3D9E907-9AB7-45FF-A9E6-0E089B8C5B8B}" dt="2021-11-24T21:50:52.150" v="318" actId="113"/>
          <ac:spMkLst>
            <pc:docMk/>
            <pc:sldMk cId="2692996024" sldId="1704"/>
            <ac:spMk id="11" creationId="{8981EBFB-C8A9-4836-889C-826FE7776CC4}"/>
          </ac:spMkLst>
        </pc:spChg>
      </pc:sldChg>
    </pc:docChg>
  </pc:docChgLst>
  <pc:docChgLst>
    <pc:chgData name="Usuario invitado" userId="S::urn:spo:anon#1b527ceb93ec5619e274734607bbc3b2763eeeee5a84f9ad266afcf80716183a::" providerId="AD" clId="Web-{C7E78193-481A-DFD1-96E7-4152E66D9645}"/>
    <pc:docChg chg="modSld">
      <pc:chgData name="Usuario invitado" userId="S::urn:spo:anon#1b527ceb93ec5619e274734607bbc3b2763eeeee5a84f9ad266afcf80716183a::" providerId="AD" clId="Web-{C7E78193-481A-DFD1-96E7-4152E66D9645}" dt="2021-11-24T21:54:47.504" v="4"/>
      <pc:docMkLst>
        <pc:docMk/>
      </pc:docMkLst>
      <pc:sldChg chg="modSp">
        <pc:chgData name="Usuario invitado" userId="S::urn:spo:anon#1b527ceb93ec5619e274734607bbc3b2763eeeee5a84f9ad266afcf80716183a::" providerId="AD" clId="Web-{C7E78193-481A-DFD1-96E7-4152E66D9645}" dt="2021-11-24T21:54:31.097" v="1" actId="20577"/>
        <pc:sldMkLst>
          <pc:docMk/>
          <pc:sldMk cId="0" sldId="259"/>
        </pc:sldMkLst>
        <pc:spChg chg="mod">
          <ac:chgData name="Usuario invitado" userId="S::urn:spo:anon#1b527ceb93ec5619e274734607bbc3b2763eeeee5a84f9ad266afcf80716183a::" providerId="AD" clId="Web-{C7E78193-481A-DFD1-96E7-4152E66D9645}" dt="2021-11-24T21:54:31.097" v="1" actId="20577"/>
          <ac:spMkLst>
            <pc:docMk/>
            <pc:sldMk cId="0" sldId="259"/>
            <ac:spMk id="3" creationId="{6C9E0C39-8742-B14F-9B09-71798CFEC522}"/>
          </ac:spMkLst>
        </pc:spChg>
      </pc:sldChg>
      <pc:sldChg chg="modSp">
        <pc:chgData name="Usuario invitado" userId="S::urn:spo:anon#1b527ceb93ec5619e274734607bbc3b2763eeeee5a84f9ad266afcf80716183a::" providerId="AD" clId="Web-{C7E78193-481A-DFD1-96E7-4152E66D9645}" dt="2021-11-24T21:54:47.504" v="4"/>
        <pc:sldMkLst>
          <pc:docMk/>
          <pc:sldMk cId="791129473" sldId="306"/>
        </pc:sldMkLst>
        <pc:spChg chg="mod">
          <ac:chgData name="Usuario invitado" userId="S::urn:spo:anon#1b527ceb93ec5619e274734607bbc3b2763eeeee5a84f9ad266afcf80716183a::" providerId="AD" clId="Web-{C7E78193-481A-DFD1-96E7-4152E66D9645}" dt="2021-11-24T21:54:47.504" v="4"/>
          <ac:spMkLst>
            <pc:docMk/>
            <pc:sldMk cId="791129473" sldId="306"/>
            <ac:spMk id="4" creationId="{00000000-0000-0000-0000-000000000000}"/>
          </ac:spMkLst>
        </pc:sp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55D9BF8-F304-4FC2-AE84-B62072AF0DD7}" type="doc">
      <dgm:prSet loTypeId="urn:microsoft.com/office/officeart/2005/8/layout/hProcess4" loCatId="process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es-CO"/>
        </a:p>
      </dgm:t>
    </dgm:pt>
    <dgm:pt modelId="{8ABD8619-F8AD-441E-8DE2-6AD818D13164}">
      <dgm:prSet phldrT="[Texto]"/>
      <dgm:spPr>
        <a:xfrm>
          <a:off x="487856" y="2548175"/>
          <a:ext cx="1947014" cy="774263"/>
        </a:xfrm>
        <a:prstGeom prst="roundRect">
          <a:avLst>
            <a:gd name="adj" fmla="val 10000"/>
          </a:avLst>
        </a:prstGeom>
        <a:solidFill>
          <a:srgbClr val="069169"/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s-MX">
              <a:solidFill>
                <a:sysClr val="window" lastClr="FFFFFF"/>
              </a:solidFill>
              <a:latin typeface="Work Sans"/>
              <a:ea typeface="+mn-ea"/>
              <a:cs typeface="+mn-cs"/>
            </a:rPr>
            <a:t>Fase 1: </a:t>
          </a:r>
          <a:endParaRPr lang="es-CO">
            <a:solidFill>
              <a:sysClr val="window" lastClr="FFFFFF"/>
            </a:solidFill>
            <a:latin typeface="Arial"/>
            <a:ea typeface="+mn-ea"/>
            <a:cs typeface="+mn-cs"/>
          </a:endParaRPr>
        </a:p>
      </dgm:t>
    </dgm:pt>
    <dgm:pt modelId="{7B86F9C2-65AE-44F8-8087-42426CE866F6}" type="parTrans" cxnId="{B759A640-4341-4857-B0BC-7EECE177C35C}">
      <dgm:prSet/>
      <dgm:spPr/>
      <dgm:t>
        <a:bodyPr/>
        <a:lstStyle/>
        <a:p>
          <a:endParaRPr lang="es-CO"/>
        </a:p>
      </dgm:t>
    </dgm:pt>
    <dgm:pt modelId="{A09EA9A8-D4DA-4553-82BE-597C0C7E52C1}" type="sibTrans" cxnId="{B759A640-4341-4857-B0BC-7EECE177C35C}">
      <dgm:prSet/>
      <dgm:spPr>
        <a:xfrm>
          <a:off x="1231588" y="1557330"/>
          <a:ext cx="2418020" cy="2418020"/>
        </a:xfrm>
        <a:prstGeom prst="leftCircularArrow">
          <a:avLst>
            <a:gd name="adj1" fmla="val 3164"/>
            <a:gd name="adj2" fmla="val 389503"/>
            <a:gd name="adj3" fmla="val 2165013"/>
            <a:gd name="adj4" fmla="val 9024489"/>
            <a:gd name="adj5" fmla="val 3692"/>
          </a:avLst>
        </a:prstGeom>
        <a:solidFill>
          <a:srgbClr val="00B050"/>
        </a:solidFill>
        <a:ln>
          <a:noFill/>
        </a:ln>
        <a:effectLst/>
      </dgm:spPr>
      <dgm:t>
        <a:bodyPr/>
        <a:lstStyle/>
        <a:p>
          <a:endParaRPr lang="es-CO"/>
        </a:p>
      </dgm:t>
    </dgm:pt>
    <dgm:pt modelId="{EA810275-1EC8-4178-87A6-079F460FB49E}">
      <dgm:prSet phldrT="[Texto]"/>
      <dgm:spPr>
        <a:xfrm>
          <a:off x="1102" y="1128692"/>
          <a:ext cx="2190391" cy="1806614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19050" cap="flat" cmpd="sng" algn="ctr">
          <a:solidFill>
            <a:srgbClr val="0070C0"/>
          </a:solidFill>
          <a:prstDash val="solid"/>
          <a:miter lim="800000"/>
        </a:ln>
        <a:effectLst/>
      </dgm:spPr>
      <dgm:t>
        <a:bodyPr/>
        <a:lstStyle/>
        <a:p>
          <a:pPr>
            <a:buChar char="•"/>
          </a:pPr>
          <a:r>
            <a:rPr lang="es-MX">
              <a:solidFill>
                <a:schemeClr val="accent6">
                  <a:lumMod val="75000"/>
                </a:schemeClr>
              </a:solidFill>
              <a:latin typeface="Work Sans"/>
              <a:ea typeface="+mn-ea"/>
              <a:cs typeface="+mn-cs"/>
            </a:rPr>
            <a:t>Bases “Banco de Experiencias”</a:t>
          </a:r>
          <a:endParaRPr lang="es-CO">
            <a:solidFill>
              <a:schemeClr val="accent6">
                <a:lumMod val="75000"/>
              </a:schemeClr>
            </a:solidFill>
            <a:latin typeface="Arial"/>
            <a:ea typeface="+mn-ea"/>
            <a:cs typeface="+mn-cs"/>
          </a:endParaRPr>
        </a:p>
      </dgm:t>
    </dgm:pt>
    <dgm:pt modelId="{2AA712D8-953A-4DCF-85EC-D990B62260E8}" type="parTrans" cxnId="{5936089D-0C05-47F1-887A-D5F31C6DBB55}">
      <dgm:prSet/>
      <dgm:spPr/>
      <dgm:t>
        <a:bodyPr/>
        <a:lstStyle/>
        <a:p>
          <a:endParaRPr lang="es-CO"/>
        </a:p>
      </dgm:t>
    </dgm:pt>
    <dgm:pt modelId="{27F65806-CF24-4A5A-A9A8-99090D46346C}" type="sibTrans" cxnId="{5936089D-0C05-47F1-887A-D5F31C6DBB55}">
      <dgm:prSet/>
      <dgm:spPr/>
      <dgm:t>
        <a:bodyPr/>
        <a:lstStyle/>
        <a:p>
          <a:endParaRPr lang="es-CO"/>
        </a:p>
      </dgm:t>
    </dgm:pt>
    <dgm:pt modelId="{9242AADA-BB91-4B6A-BEE4-99BD4E4E480C}">
      <dgm:prSet phldrT="[Texto]"/>
      <dgm:spPr>
        <a:xfrm>
          <a:off x="3285976" y="741560"/>
          <a:ext cx="1947014" cy="774263"/>
        </a:xfrm>
        <a:prstGeom prst="roundRect">
          <a:avLst>
            <a:gd name="adj" fmla="val 10000"/>
          </a:avLst>
        </a:prstGeom>
        <a:solidFill>
          <a:srgbClr val="FF9933"/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s-MX">
              <a:solidFill>
                <a:sysClr val="window" lastClr="FFFFFF"/>
              </a:solidFill>
              <a:latin typeface="Work Sans"/>
              <a:ea typeface="+mn-ea"/>
              <a:cs typeface="+mn-cs"/>
            </a:rPr>
            <a:t>Fase 2: </a:t>
          </a:r>
          <a:endParaRPr lang="es-CO">
            <a:solidFill>
              <a:sysClr val="window" lastClr="FFFFFF"/>
            </a:solidFill>
            <a:latin typeface="Arial"/>
            <a:ea typeface="+mn-ea"/>
            <a:cs typeface="+mn-cs"/>
          </a:endParaRPr>
        </a:p>
      </dgm:t>
    </dgm:pt>
    <dgm:pt modelId="{CC520F9C-056E-4C26-834F-26A60B97935A}" type="parTrans" cxnId="{94C98232-9414-4E58-B8E0-6B4BC7C40D84}">
      <dgm:prSet/>
      <dgm:spPr/>
      <dgm:t>
        <a:bodyPr/>
        <a:lstStyle/>
        <a:p>
          <a:endParaRPr lang="es-CO"/>
        </a:p>
      </dgm:t>
    </dgm:pt>
    <dgm:pt modelId="{0A0391C1-C594-424F-A5C6-B572CF2995B5}" type="sibTrans" cxnId="{94C98232-9414-4E58-B8E0-6B4BC7C40D84}">
      <dgm:prSet/>
      <dgm:spPr>
        <a:xfrm>
          <a:off x="4011455" y="17813"/>
          <a:ext cx="2697903" cy="2697903"/>
        </a:xfrm>
        <a:prstGeom prst="circularArrow">
          <a:avLst>
            <a:gd name="adj1" fmla="val 2836"/>
            <a:gd name="adj2" fmla="val 346411"/>
            <a:gd name="adj3" fmla="val 19478078"/>
            <a:gd name="adj4" fmla="val 12575511"/>
            <a:gd name="adj5" fmla="val 3309"/>
          </a:avLst>
        </a:prstGeom>
        <a:solidFill>
          <a:srgbClr val="F7DB31"/>
        </a:solidFill>
        <a:ln>
          <a:noFill/>
        </a:ln>
        <a:effectLst/>
      </dgm:spPr>
      <dgm:t>
        <a:bodyPr/>
        <a:lstStyle/>
        <a:p>
          <a:endParaRPr lang="es-CO"/>
        </a:p>
      </dgm:t>
    </dgm:pt>
    <dgm:pt modelId="{0FAE97B4-96E7-4771-B918-546716BF9282}">
      <dgm:prSet phldrT="[Texto]"/>
      <dgm:spPr>
        <a:xfrm>
          <a:off x="2799222" y="1128692"/>
          <a:ext cx="2190391" cy="1806614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19050" cap="flat" cmpd="sng" algn="ctr">
          <a:solidFill>
            <a:srgbClr val="0070C0"/>
          </a:solidFill>
          <a:prstDash val="solid"/>
          <a:miter lim="800000"/>
        </a:ln>
        <a:effectLst/>
      </dgm:spPr>
      <dgm:t>
        <a:bodyPr/>
        <a:lstStyle/>
        <a:p>
          <a:pPr>
            <a:buChar char="•"/>
          </a:pPr>
          <a:r>
            <a:rPr lang="es-MX">
              <a:solidFill>
                <a:schemeClr val="accent6">
                  <a:lumMod val="75000"/>
                </a:schemeClr>
              </a:solidFill>
              <a:latin typeface="Work Sans"/>
              <a:ea typeface="+mn-ea"/>
              <a:cs typeface="+mn-cs"/>
            </a:rPr>
            <a:t>Diseño del </a:t>
          </a:r>
          <a:r>
            <a:rPr lang="es-MX" b="1">
              <a:solidFill>
                <a:schemeClr val="accent6">
                  <a:lumMod val="75000"/>
                </a:schemeClr>
              </a:solidFill>
              <a:latin typeface="Work Sans"/>
              <a:ea typeface="+mn-ea"/>
              <a:cs typeface="+mn-cs"/>
            </a:rPr>
            <a:t>Formato de Registro de casos </a:t>
          </a:r>
          <a:r>
            <a:rPr lang="es-MX">
              <a:solidFill>
                <a:schemeClr val="accent6">
                  <a:lumMod val="75000"/>
                </a:schemeClr>
              </a:solidFill>
              <a:latin typeface="Work Sans"/>
              <a:ea typeface="+mn-ea"/>
              <a:cs typeface="+mn-cs"/>
            </a:rPr>
            <a:t>en el “Banco de experiencias”</a:t>
          </a:r>
          <a:endParaRPr lang="es-CO">
            <a:solidFill>
              <a:schemeClr val="accent6">
                <a:lumMod val="75000"/>
              </a:schemeClr>
            </a:solidFill>
            <a:latin typeface="Arial"/>
            <a:ea typeface="+mn-ea"/>
            <a:cs typeface="+mn-cs"/>
          </a:endParaRPr>
        </a:p>
      </dgm:t>
    </dgm:pt>
    <dgm:pt modelId="{FAD48ECD-8EBF-4D7F-8F18-245061C5CE29}" type="parTrans" cxnId="{4890E6E4-5410-4091-A635-6A3659FAC608}">
      <dgm:prSet/>
      <dgm:spPr/>
      <dgm:t>
        <a:bodyPr/>
        <a:lstStyle/>
        <a:p>
          <a:endParaRPr lang="es-CO"/>
        </a:p>
      </dgm:t>
    </dgm:pt>
    <dgm:pt modelId="{A72106E8-2E4E-4183-9341-143139BA6777}" type="sibTrans" cxnId="{4890E6E4-5410-4091-A635-6A3659FAC608}">
      <dgm:prSet/>
      <dgm:spPr/>
      <dgm:t>
        <a:bodyPr/>
        <a:lstStyle/>
        <a:p>
          <a:endParaRPr lang="es-CO"/>
        </a:p>
      </dgm:t>
    </dgm:pt>
    <dgm:pt modelId="{D9CAFEDB-F2D9-4005-83E0-380BB1B46310}">
      <dgm:prSet phldrT="[Texto]"/>
      <dgm:spPr>
        <a:xfrm>
          <a:off x="6084096" y="2548175"/>
          <a:ext cx="1947014" cy="774263"/>
        </a:xfrm>
        <a:prstGeom prst="roundRect">
          <a:avLst>
            <a:gd name="adj" fmla="val 10000"/>
          </a:avLst>
        </a:prstGeom>
        <a:solidFill>
          <a:schemeClr val="tx2">
            <a:lumMod val="50000"/>
          </a:scheme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s-MX">
              <a:solidFill>
                <a:sysClr val="window" lastClr="FFFFFF"/>
              </a:solidFill>
              <a:latin typeface="Work Sans"/>
              <a:ea typeface="+mn-ea"/>
              <a:cs typeface="+mn-cs"/>
            </a:rPr>
            <a:t>Fase 3: </a:t>
          </a:r>
          <a:endParaRPr lang="es-CO">
            <a:solidFill>
              <a:sysClr val="window" lastClr="FFFFFF"/>
            </a:solidFill>
            <a:latin typeface="Arial"/>
            <a:ea typeface="+mn-ea"/>
            <a:cs typeface="+mn-cs"/>
          </a:endParaRPr>
        </a:p>
      </dgm:t>
    </dgm:pt>
    <dgm:pt modelId="{03A2109D-9E5F-4CEC-8726-2EACB02FEDF4}" type="parTrans" cxnId="{25B63D9E-DD38-4BB7-B77B-DEAE26A1EE12}">
      <dgm:prSet/>
      <dgm:spPr/>
      <dgm:t>
        <a:bodyPr/>
        <a:lstStyle/>
        <a:p>
          <a:endParaRPr lang="es-CO"/>
        </a:p>
      </dgm:t>
    </dgm:pt>
    <dgm:pt modelId="{C1B408EF-2B32-438B-B5EA-CC962C02D810}" type="sibTrans" cxnId="{25B63D9E-DD38-4BB7-B77B-DEAE26A1EE12}">
      <dgm:prSet/>
      <dgm:spPr/>
      <dgm:t>
        <a:bodyPr/>
        <a:lstStyle/>
        <a:p>
          <a:endParaRPr lang="es-CO"/>
        </a:p>
      </dgm:t>
    </dgm:pt>
    <dgm:pt modelId="{FD5D86D6-900F-4218-B7F9-C497485ABD8A}">
      <dgm:prSet phldrT="[Texto]"/>
      <dgm:spPr>
        <a:xfrm>
          <a:off x="5597342" y="1128692"/>
          <a:ext cx="2190391" cy="1806614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12700" cap="flat" cmpd="sng" algn="ctr">
          <a:solidFill>
            <a:srgbClr val="0070C0"/>
          </a:solidFill>
          <a:prstDash val="solid"/>
          <a:miter lim="800000"/>
        </a:ln>
        <a:effectLst/>
      </dgm:spPr>
      <dgm:t>
        <a:bodyPr/>
        <a:lstStyle/>
        <a:p>
          <a:pPr>
            <a:buChar char="•"/>
          </a:pPr>
          <a:r>
            <a:rPr lang="es-MX" b="1">
              <a:solidFill>
                <a:schemeClr val="accent6">
                  <a:lumMod val="75000"/>
                </a:schemeClr>
              </a:solidFill>
              <a:latin typeface="Work Sans"/>
              <a:ea typeface="+mn-ea"/>
              <a:cs typeface="+mn-cs"/>
            </a:rPr>
            <a:t>Diseño de formato digital </a:t>
          </a:r>
          <a:r>
            <a:rPr lang="es-MX">
              <a:solidFill>
                <a:schemeClr val="accent6">
                  <a:lumMod val="75000"/>
                </a:schemeClr>
              </a:solidFill>
              <a:latin typeface="Work Sans"/>
              <a:ea typeface="+mn-ea"/>
              <a:cs typeface="+mn-cs"/>
            </a:rPr>
            <a:t>para Registro de casos del Banco de experiencias</a:t>
          </a:r>
          <a:endParaRPr lang="es-CO">
            <a:solidFill>
              <a:schemeClr val="accent6">
                <a:lumMod val="75000"/>
              </a:schemeClr>
            </a:solidFill>
            <a:latin typeface="Arial"/>
            <a:ea typeface="+mn-ea"/>
            <a:cs typeface="+mn-cs"/>
          </a:endParaRPr>
        </a:p>
      </dgm:t>
    </dgm:pt>
    <dgm:pt modelId="{247384A9-7693-4B8F-98E3-DF4EFA493B27}" type="parTrans" cxnId="{7D5C0D72-DE07-4E03-8769-B5FD07D1A6E9}">
      <dgm:prSet/>
      <dgm:spPr/>
      <dgm:t>
        <a:bodyPr/>
        <a:lstStyle/>
        <a:p>
          <a:endParaRPr lang="es-CO"/>
        </a:p>
      </dgm:t>
    </dgm:pt>
    <dgm:pt modelId="{F8B4911F-8C61-4600-8BA0-304C30ADC2F6}" type="sibTrans" cxnId="{7D5C0D72-DE07-4E03-8769-B5FD07D1A6E9}">
      <dgm:prSet/>
      <dgm:spPr/>
      <dgm:t>
        <a:bodyPr/>
        <a:lstStyle/>
        <a:p>
          <a:endParaRPr lang="es-CO"/>
        </a:p>
      </dgm:t>
    </dgm:pt>
    <dgm:pt modelId="{2754BA36-067F-471B-A0CB-EC39E0D75706}" type="pres">
      <dgm:prSet presAssocID="{955D9BF8-F304-4FC2-AE84-B62072AF0DD7}" presName="Name0" presStyleCnt="0">
        <dgm:presLayoutVars>
          <dgm:dir/>
          <dgm:animLvl val="lvl"/>
          <dgm:resizeHandles val="exact"/>
        </dgm:presLayoutVars>
      </dgm:prSet>
      <dgm:spPr/>
    </dgm:pt>
    <dgm:pt modelId="{20C38F36-A329-4170-8088-A1660EC461C3}" type="pres">
      <dgm:prSet presAssocID="{955D9BF8-F304-4FC2-AE84-B62072AF0DD7}" presName="tSp" presStyleCnt="0"/>
      <dgm:spPr/>
    </dgm:pt>
    <dgm:pt modelId="{C6D0327A-1947-42C2-ADC9-D9C3760F5572}" type="pres">
      <dgm:prSet presAssocID="{955D9BF8-F304-4FC2-AE84-B62072AF0DD7}" presName="bSp" presStyleCnt="0"/>
      <dgm:spPr/>
    </dgm:pt>
    <dgm:pt modelId="{8AA8D533-F4E8-4D59-8F8F-C5DD57C81519}" type="pres">
      <dgm:prSet presAssocID="{955D9BF8-F304-4FC2-AE84-B62072AF0DD7}" presName="process" presStyleCnt="0"/>
      <dgm:spPr/>
    </dgm:pt>
    <dgm:pt modelId="{B32A23FA-6A9A-46D8-9E8F-2A744AB21CFE}" type="pres">
      <dgm:prSet presAssocID="{8ABD8619-F8AD-441E-8DE2-6AD818D13164}" presName="composite1" presStyleCnt="0"/>
      <dgm:spPr/>
    </dgm:pt>
    <dgm:pt modelId="{1A79D653-93AB-48C3-BA3E-4B1D134168D3}" type="pres">
      <dgm:prSet presAssocID="{8ABD8619-F8AD-441E-8DE2-6AD818D13164}" presName="dummyNode1" presStyleLbl="node1" presStyleIdx="0" presStyleCnt="3"/>
      <dgm:spPr/>
    </dgm:pt>
    <dgm:pt modelId="{BC2620F4-0D59-4309-90A8-C5BB4B86E7A9}" type="pres">
      <dgm:prSet presAssocID="{8ABD8619-F8AD-441E-8DE2-6AD818D13164}" presName="childNode1" presStyleLbl="bgAcc1" presStyleIdx="0" presStyleCnt="3">
        <dgm:presLayoutVars>
          <dgm:bulletEnabled val="1"/>
        </dgm:presLayoutVars>
      </dgm:prSet>
      <dgm:spPr/>
    </dgm:pt>
    <dgm:pt modelId="{5C2DFF41-5E49-40E4-836F-81AF25A3FDDC}" type="pres">
      <dgm:prSet presAssocID="{8ABD8619-F8AD-441E-8DE2-6AD818D13164}" presName="childNode1tx" presStyleLbl="bgAcc1" presStyleIdx="0" presStyleCnt="3">
        <dgm:presLayoutVars>
          <dgm:bulletEnabled val="1"/>
        </dgm:presLayoutVars>
      </dgm:prSet>
      <dgm:spPr/>
    </dgm:pt>
    <dgm:pt modelId="{0A72C19A-673D-4610-A59D-CB3EC54521F6}" type="pres">
      <dgm:prSet presAssocID="{8ABD8619-F8AD-441E-8DE2-6AD818D13164}" presName="parentNode1" presStyleLbl="node1" presStyleIdx="0" presStyleCnt="3">
        <dgm:presLayoutVars>
          <dgm:chMax val="1"/>
          <dgm:bulletEnabled val="1"/>
        </dgm:presLayoutVars>
      </dgm:prSet>
      <dgm:spPr/>
    </dgm:pt>
    <dgm:pt modelId="{D997CCBE-FDD6-44AF-A6C0-83F3852A0A5A}" type="pres">
      <dgm:prSet presAssocID="{8ABD8619-F8AD-441E-8DE2-6AD818D13164}" presName="connSite1" presStyleCnt="0"/>
      <dgm:spPr/>
    </dgm:pt>
    <dgm:pt modelId="{0CEFB16F-C098-44B6-AFFE-5A15DB7C7105}" type="pres">
      <dgm:prSet presAssocID="{A09EA9A8-D4DA-4553-82BE-597C0C7E52C1}" presName="Name9" presStyleLbl="sibTrans2D1" presStyleIdx="0" presStyleCnt="2"/>
      <dgm:spPr/>
    </dgm:pt>
    <dgm:pt modelId="{EF6C47A4-4488-4519-8FC5-2B444D3A1EB7}" type="pres">
      <dgm:prSet presAssocID="{9242AADA-BB91-4B6A-BEE4-99BD4E4E480C}" presName="composite2" presStyleCnt="0"/>
      <dgm:spPr/>
    </dgm:pt>
    <dgm:pt modelId="{9FD97DFA-2410-4BF4-A4BF-581687981FDB}" type="pres">
      <dgm:prSet presAssocID="{9242AADA-BB91-4B6A-BEE4-99BD4E4E480C}" presName="dummyNode2" presStyleLbl="node1" presStyleIdx="0" presStyleCnt="3"/>
      <dgm:spPr/>
    </dgm:pt>
    <dgm:pt modelId="{2C457B49-F93D-42ED-B40C-D7464FEB7869}" type="pres">
      <dgm:prSet presAssocID="{9242AADA-BB91-4B6A-BEE4-99BD4E4E480C}" presName="childNode2" presStyleLbl="bgAcc1" presStyleIdx="1" presStyleCnt="3">
        <dgm:presLayoutVars>
          <dgm:bulletEnabled val="1"/>
        </dgm:presLayoutVars>
      </dgm:prSet>
      <dgm:spPr/>
    </dgm:pt>
    <dgm:pt modelId="{14E6B687-803F-4658-BBF2-130D7792693C}" type="pres">
      <dgm:prSet presAssocID="{9242AADA-BB91-4B6A-BEE4-99BD4E4E480C}" presName="childNode2tx" presStyleLbl="bgAcc1" presStyleIdx="1" presStyleCnt="3">
        <dgm:presLayoutVars>
          <dgm:bulletEnabled val="1"/>
        </dgm:presLayoutVars>
      </dgm:prSet>
      <dgm:spPr/>
    </dgm:pt>
    <dgm:pt modelId="{532880E0-19FB-4127-854D-C607836C2DD8}" type="pres">
      <dgm:prSet presAssocID="{9242AADA-BB91-4B6A-BEE4-99BD4E4E480C}" presName="parentNode2" presStyleLbl="node1" presStyleIdx="1" presStyleCnt="3">
        <dgm:presLayoutVars>
          <dgm:chMax val="0"/>
          <dgm:bulletEnabled val="1"/>
        </dgm:presLayoutVars>
      </dgm:prSet>
      <dgm:spPr/>
    </dgm:pt>
    <dgm:pt modelId="{E80AF997-3401-490A-B7EF-5F7E19A1CEEA}" type="pres">
      <dgm:prSet presAssocID="{9242AADA-BB91-4B6A-BEE4-99BD4E4E480C}" presName="connSite2" presStyleCnt="0"/>
      <dgm:spPr/>
    </dgm:pt>
    <dgm:pt modelId="{AF4BAF8B-E9BB-4F9B-BBA3-FBA8CBC847BC}" type="pres">
      <dgm:prSet presAssocID="{0A0391C1-C594-424F-A5C6-B572CF2995B5}" presName="Name18" presStyleLbl="sibTrans2D1" presStyleIdx="1" presStyleCnt="2"/>
      <dgm:spPr/>
    </dgm:pt>
    <dgm:pt modelId="{AAFFB455-D7C4-4506-B5D4-5AF0850A8A59}" type="pres">
      <dgm:prSet presAssocID="{D9CAFEDB-F2D9-4005-83E0-380BB1B46310}" presName="composite1" presStyleCnt="0"/>
      <dgm:spPr/>
    </dgm:pt>
    <dgm:pt modelId="{5F1E192E-997A-4F06-9F64-FDA5F6F09BBF}" type="pres">
      <dgm:prSet presAssocID="{D9CAFEDB-F2D9-4005-83E0-380BB1B46310}" presName="dummyNode1" presStyleLbl="node1" presStyleIdx="1" presStyleCnt="3"/>
      <dgm:spPr/>
    </dgm:pt>
    <dgm:pt modelId="{A5C923BE-74EF-4C9D-B223-EF2538F0156A}" type="pres">
      <dgm:prSet presAssocID="{D9CAFEDB-F2D9-4005-83E0-380BB1B46310}" presName="childNode1" presStyleLbl="bgAcc1" presStyleIdx="2" presStyleCnt="3">
        <dgm:presLayoutVars>
          <dgm:bulletEnabled val="1"/>
        </dgm:presLayoutVars>
      </dgm:prSet>
      <dgm:spPr/>
    </dgm:pt>
    <dgm:pt modelId="{E44C77ED-9A1B-4C0B-B306-73EB93B858DA}" type="pres">
      <dgm:prSet presAssocID="{D9CAFEDB-F2D9-4005-83E0-380BB1B46310}" presName="childNode1tx" presStyleLbl="bgAcc1" presStyleIdx="2" presStyleCnt="3">
        <dgm:presLayoutVars>
          <dgm:bulletEnabled val="1"/>
        </dgm:presLayoutVars>
      </dgm:prSet>
      <dgm:spPr/>
    </dgm:pt>
    <dgm:pt modelId="{48B99019-FB38-4FFF-9C5E-875AB42CE185}" type="pres">
      <dgm:prSet presAssocID="{D9CAFEDB-F2D9-4005-83E0-380BB1B46310}" presName="parentNode1" presStyleLbl="node1" presStyleIdx="2" presStyleCnt="3">
        <dgm:presLayoutVars>
          <dgm:chMax val="1"/>
          <dgm:bulletEnabled val="1"/>
        </dgm:presLayoutVars>
      </dgm:prSet>
      <dgm:spPr/>
    </dgm:pt>
    <dgm:pt modelId="{F846F079-E6C2-41C2-BE69-59E0F03015B8}" type="pres">
      <dgm:prSet presAssocID="{D9CAFEDB-F2D9-4005-83E0-380BB1B46310}" presName="connSite1" presStyleCnt="0"/>
      <dgm:spPr/>
    </dgm:pt>
  </dgm:ptLst>
  <dgm:cxnLst>
    <dgm:cxn modelId="{7D59E202-5ADB-4157-B1C0-58E71665C3F8}" type="presOf" srcId="{D9CAFEDB-F2D9-4005-83E0-380BB1B46310}" destId="{48B99019-FB38-4FFF-9C5E-875AB42CE185}" srcOrd="0" destOrd="0" presId="urn:microsoft.com/office/officeart/2005/8/layout/hProcess4"/>
    <dgm:cxn modelId="{56640F04-D2CC-410D-8F90-D296E0C49752}" type="presOf" srcId="{0FAE97B4-96E7-4771-B918-546716BF9282}" destId="{2C457B49-F93D-42ED-B40C-D7464FEB7869}" srcOrd="0" destOrd="0" presId="urn:microsoft.com/office/officeart/2005/8/layout/hProcess4"/>
    <dgm:cxn modelId="{29C4531C-55B3-4532-8694-72B67C3C4542}" type="presOf" srcId="{8ABD8619-F8AD-441E-8DE2-6AD818D13164}" destId="{0A72C19A-673D-4610-A59D-CB3EC54521F6}" srcOrd="0" destOrd="0" presId="urn:microsoft.com/office/officeart/2005/8/layout/hProcess4"/>
    <dgm:cxn modelId="{94C98232-9414-4E58-B8E0-6B4BC7C40D84}" srcId="{955D9BF8-F304-4FC2-AE84-B62072AF0DD7}" destId="{9242AADA-BB91-4B6A-BEE4-99BD4E4E480C}" srcOrd="1" destOrd="0" parTransId="{CC520F9C-056E-4C26-834F-26A60B97935A}" sibTransId="{0A0391C1-C594-424F-A5C6-B572CF2995B5}"/>
    <dgm:cxn modelId="{B759A640-4341-4857-B0BC-7EECE177C35C}" srcId="{955D9BF8-F304-4FC2-AE84-B62072AF0DD7}" destId="{8ABD8619-F8AD-441E-8DE2-6AD818D13164}" srcOrd="0" destOrd="0" parTransId="{7B86F9C2-65AE-44F8-8087-42426CE866F6}" sibTransId="{A09EA9A8-D4DA-4553-82BE-597C0C7E52C1}"/>
    <dgm:cxn modelId="{5B675962-3A36-47F5-871D-BC37C76DDDBD}" type="presOf" srcId="{EA810275-1EC8-4178-87A6-079F460FB49E}" destId="{5C2DFF41-5E49-40E4-836F-81AF25A3FDDC}" srcOrd="1" destOrd="0" presId="urn:microsoft.com/office/officeart/2005/8/layout/hProcess4"/>
    <dgm:cxn modelId="{DC28F064-F237-48B7-AC8F-181D4E365973}" type="presOf" srcId="{EA810275-1EC8-4178-87A6-079F460FB49E}" destId="{BC2620F4-0D59-4309-90A8-C5BB4B86E7A9}" srcOrd="0" destOrd="0" presId="urn:microsoft.com/office/officeart/2005/8/layout/hProcess4"/>
    <dgm:cxn modelId="{7519B048-2B04-4425-9C42-AF3BD90E348B}" type="presOf" srcId="{955D9BF8-F304-4FC2-AE84-B62072AF0DD7}" destId="{2754BA36-067F-471B-A0CB-EC39E0D75706}" srcOrd="0" destOrd="0" presId="urn:microsoft.com/office/officeart/2005/8/layout/hProcess4"/>
    <dgm:cxn modelId="{7D5C0D72-DE07-4E03-8769-B5FD07D1A6E9}" srcId="{D9CAFEDB-F2D9-4005-83E0-380BB1B46310}" destId="{FD5D86D6-900F-4218-B7F9-C497485ABD8A}" srcOrd="0" destOrd="0" parTransId="{247384A9-7693-4B8F-98E3-DF4EFA493B27}" sibTransId="{F8B4911F-8C61-4600-8BA0-304C30ADC2F6}"/>
    <dgm:cxn modelId="{B0077456-CD7D-4889-8E32-D3F36AD03643}" type="presOf" srcId="{FD5D86D6-900F-4218-B7F9-C497485ABD8A}" destId="{E44C77ED-9A1B-4C0B-B306-73EB93B858DA}" srcOrd="1" destOrd="0" presId="urn:microsoft.com/office/officeart/2005/8/layout/hProcess4"/>
    <dgm:cxn modelId="{5936089D-0C05-47F1-887A-D5F31C6DBB55}" srcId="{8ABD8619-F8AD-441E-8DE2-6AD818D13164}" destId="{EA810275-1EC8-4178-87A6-079F460FB49E}" srcOrd="0" destOrd="0" parTransId="{2AA712D8-953A-4DCF-85EC-D990B62260E8}" sibTransId="{27F65806-CF24-4A5A-A9A8-99090D46346C}"/>
    <dgm:cxn modelId="{25B63D9E-DD38-4BB7-B77B-DEAE26A1EE12}" srcId="{955D9BF8-F304-4FC2-AE84-B62072AF0DD7}" destId="{D9CAFEDB-F2D9-4005-83E0-380BB1B46310}" srcOrd="2" destOrd="0" parTransId="{03A2109D-9E5F-4CEC-8726-2EACB02FEDF4}" sibTransId="{C1B408EF-2B32-438B-B5EA-CC962C02D810}"/>
    <dgm:cxn modelId="{0FCE36A8-4984-4F47-B1CD-27AF445005C1}" type="presOf" srcId="{0A0391C1-C594-424F-A5C6-B572CF2995B5}" destId="{AF4BAF8B-E9BB-4F9B-BBA3-FBA8CBC847BC}" srcOrd="0" destOrd="0" presId="urn:microsoft.com/office/officeart/2005/8/layout/hProcess4"/>
    <dgm:cxn modelId="{ED71EEAC-1F5A-4121-85F7-BDA62C2B2017}" type="presOf" srcId="{0FAE97B4-96E7-4771-B918-546716BF9282}" destId="{14E6B687-803F-4658-BBF2-130D7792693C}" srcOrd="1" destOrd="0" presId="urn:microsoft.com/office/officeart/2005/8/layout/hProcess4"/>
    <dgm:cxn modelId="{8681A8B0-A3FB-4C78-AC82-EB342CDD12EC}" type="presOf" srcId="{FD5D86D6-900F-4218-B7F9-C497485ABD8A}" destId="{A5C923BE-74EF-4C9D-B223-EF2538F0156A}" srcOrd="0" destOrd="0" presId="urn:microsoft.com/office/officeart/2005/8/layout/hProcess4"/>
    <dgm:cxn modelId="{488C84D5-78BC-446B-B09D-56B58D2F6218}" type="presOf" srcId="{A09EA9A8-D4DA-4553-82BE-597C0C7E52C1}" destId="{0CEFB16F-C098-44B6-AFFE-5A15DB7C7105}" srcOrd="0" destOrd="0" presId="urn:microsoft.com/office/officeart/2005/8/layout/hProcess4"/>
    <dgm:cxn modelId="{4890E6E4-5410-4091-A635-6A3659FAC608}" srcId="{9242AADA-BB91-4B6A-BEE4-99BD4E4E480C}" destId="{0FAE97B4-96E7-4771-B918-546716BF9282}" srcOrd="0" destOrd="0" parTransId="{FAD48ECD-8EBF-4D7F-8F18-245061C5CE29}" sibTransId="{A72106E8-2E4E-4183-9341-143139BA6777}"/>
    <dgm:cxn modelId="{C7239DFE-197D-4AD8-98E2-62A40615E7C3}" type="presOf" srcId="{9242AADA-BB91-4B6A-BEE4-99BD4E4E480C}" destId="{532880E0-19FB-4127-854D-C607836C2DD8}" srcOrd="0" destOrd="0" presId="urn:microsoft.com/office/officeart/2005/8/layout/hProcess4"/>
    <dgm:cxn modelId="{3FABD108-2A76-4A54-A868-39102AD600E4}" type="presParOf" srcId="{2754BA36-067F-471B-A0CB-EC39E0D75706}" destId="{20C38F36-A329-4170-8088-A1660EC461C3}" srcOrd="0" destOrd="0" presId="urn:microsoft.com/office/officeart/2005/8/layout/hProcess4"/>
    <dgm:cxn modelId="{42354119-B42E-4153-A270-5CE9BFE518F9}" type="presParOf" srcId="{2754BA36-067F-471B-A0CB-EC39E0D75706}" destId="{C6D0327A-1947-42C2-ADC9-D9C3760F5572}" srcOrd="1" destOrd="0" presId="urn:microsoft.com/office/officeart/2005/8/layout/hProcess4"/>
    <dgm:cxn modelId="{515EEC82-69BF-47BA-A3EC-7AE382990211}" type="presParOf" srcId="{2754BA36-067F-471B-A0CB-EC39E0D75706}" destId="{8AA8D533-F4E8-4D59-8F8F-C5DD57C81519}" srcOrd="2" destOrd="0" presId="urn:microsoft.com/office/officeart/2005/8/layout/hProcess4"/>
    <dgm:cxn modelId="{FBE6D7B4-0E7D-48A1-AA1E-2D51BDD84547}" type="presParOf" srcId="{8AA8D533-F4E8-4D59-8F8F-C5DD57C81519}" destId="{B32A23FA-6A9A-46D8-9E8F-2A744AB21CFE}" srcOrd="0" destOrd="0" presId="urn:microsoft.com/office/officeart/2005/8/layout/hProcess4"/>
    <dgm:cxn modelId="{15CBE861-34C0-4AA7-864B-24145421A9D7}" type="presParOf" srcId="{B32A23FA-6A9A-46D8-9E8F-2A744AB21CFE}" destId="{1A79D653-93AB-48C3-BA3E-4B1D134168D3}" srcOrd="0" destOrd="0" presId="urn:microsoft.com/office/officeart/2005/8/layout/hProcess4"/>
    <dgm:cxn modelId="{B7560573-CB7F-48E2-BC3B-62275A0E7AEC}" type="presParOf" srcId="{B32A23FA-6A9A-46D8-9E8F-2A744AB21CFE}" destId="{BC2620F4-0D59-4309-90A8-C5BB4B86E7A9}" srcOrd="1" destOrd="0" presId="urn:microsoft.com/office/officeart/2005/8/layout/hProcess4"/>
    <dgm:cxn modelId="{7983CC70-0B07-4676-BEBB-1B39B8AC6942}" type="presParOf" srcId="{B32A23FA-6A9A-46D8-9E8F-2A744AB21CFE}" destId="{5C2DFF41-5E49-40E4-836F-81AF25A3FDDC}" srcOrd="2" destOrd="0" presId="urn:microsoft.com/office/officeart/2005/8/layout/hProcess4"/>
    <dgm:cxn modelId="{646F450C-D27C-4D48-ACFB-900CAE34C71E}" type="presParOf" srcId="{B32A23FA-6A9A-46D8-9E8F-2A744AB21CFE}" destId="{0A72C19A-673D-4610-A59D-CB3EC54521F6}" srcOrd="3" destOrd="0" presId="urn:microsoft.com/office/officeart/2005/8/layout/hProcess4"/>
    <dgm:cxn modelId="{4426AE82-44BD-40F4-8F30-91284FA2801B}" type="presParOf" srcId="{B32A23FA-6A9A-46D8-9E8F-2A744AB21CFE}" destId="{D997CCBE-FDD6-44AF-A6C0-83F3852A0A5A}" srcOrd="4" destOrd="0" presId="urn:microsoft.com/office/officeart/2005/8/layout/hProcess4"/>
    <dgm:cxn modelId="{A257CB29-2C1A-4B8A-A6B0-188BAB13A827}" type="presParOf" srcId="{8AA8D533-F4E8-4D59-8F8F-C5DD57C81519}" destId="{0CEFB16F-C098-44B6-AFFE-5A15DB7C7105}" srcOrd="1" destOrd="0" presId="urn:microsoft.com/office/officeart/2005/8/layout/hProcess4"/>
    <dgm:cxn modelId="{EA95599C-ECE6-4F31-8AE9-119BD1494716}" type="presParOf" srcId="{8AA8D533-F4E8-4D59-8F8F-C5DD57C81519}" destId="{EF6C47A4-4488-4519-8FC5-2B444D3A1EB7}" srcOrd="2" destOrd="0" presId="urn:microsoft.com/office/officeart/2005/8/layout/hProcess4"/>
    <dgm:cxn modelId="{0F85D175-4714-41A4-82F4-FF643E15EA0D}" type="presParOf" srcId="{EF6C47A4-4488-4519-8FC5-2B444D3A1EB7}" destId="{9FD97DFA-2410-4BF4-A4BF-581687981FDB}" srcOrd="0" destOrd="0" presId="urn:microsoft.com/office/officeart/2005/8/layout/hProcess4"/>
    <dgm:cxn modelId="{3395D8E6-9311-48D6-B8F2-8AB604ADE936}" type="presParOf" srcId="{EF6C47A4-4488-4519-8FC5-2B444D3A1EB7}" destId="{2C457B49-F93D-42ED-B40C-D7464FEB7869}" srcOrd="1" destOrd="0" presId="urn:microsoft.com/office/officeart/2005/8/layout/hProcess4"/>
    <dgm:cxn modelId="{154B2C29-CD84-4E28-9692-A42D9C1E81FE}" type="presParOf" srcId="{EF6C47A4-4488-4519-8FC5-2B444D3A1EB7}" destId="{14E6B687-803F-4658-BBF2-130D7792693C}" srcOrd="2" destOrd="0" presId="urn:microsoft.com/office/officeart/2005/8/layout/hProcess4"/>
    <dgm:cxn modelId="{ED46273E-2D50-4E18-BB0D-2379973DA3C4}" type="presParOf" srcId="{EF6C47A4-4488-4519-8FC5-2B444D3A1EB7}" destId="{532880E0-19FB-4127-854D-C607836C2DD8}" srcOrd="3" destOrd="0" presId="urn:microsoft.com/office/officeart/2005/8/layout/hProcess4"/>
    <dgm:cxn modelId="{4BAB88B9-3CC0-4E03-8F9A-5D644882EBB7}" type="presParOf" srcId="{EF6C47A4-4488-4519-8FC5-2B444D3A1EB7}" destId="{E80AF997-3401-490A-B7EF-5F7E19A1CEEA}" srcOrd="4" destOrd="0" presId="urn:microsoft.com/office/officeart/2005/8/layout/hProcess4"/>
    <dgm:cxn modelId="{FC55C9B4-4739-42A1-AD26-C117098E848F}" type="presParOf" srcId="{8AA8D533-F4E8-4D59-8F8F-C5DD57C81519}" destId="{AF4BAF8B-E9BB-4F9B-BBA3-FBA8CBC847BC}" srcOrd="3" destOrd="0" presId="urn:microsoft.com/office/officeart/2005/8/layout/hProcess4"/>
    <dgm:cxn modelId="{9B8C9ACF-F7E0-4ECD-B4F0-23FF7E5D9F8F}" type="presParOf" srcId="{8AA8D533-F4E8-4D59-8F8F-C5DD57C81519}" destId="{AAFFB455-D7C4-4506-B5D4-5AF0850A8A59}" srcOrd="4" destOrd="0" presId="urn:microsoft.com/office/officeart/2005/8/layout/hProcess4"/>
    <dgm:cxn modelId="{E479EF27-4060-4F0A-8B7B-5DB98FDBEB38}" type="presParOf" srcId="{AAFFB455-D7C4-4506-B5D4-5AF0850A8A59}" destId="{5F1E192E-997A-4F06-9F64-FDA5F6F09BBF}" srcOrd="0" destOrd="0" presId="urn:microsoft.com/office/officeart/2005/8/layout/hProcess4"/>
    <dgm:cxn modelId="{B807568D-4BE8-4A35-AB97-510501DAF053}" type="presParOf" srcId="{AAFFB455-D7C4-4506-B5D4-5AF0850A8A59}" destId="{A5C923BE-74EF-4C9D-B223-EF2538F0156A}" srcOrd="1" destOrd="0" presId="urn:microsoft.com/office/officeart/2005/8/layout/hProcess4"/>
    <dgm:cxn modelId="{4A5304B2-442A-4EA3-9B3F-F5C129165254}" type="presParOf" srcId="{AAFFB455-D7C4-4506-B5D4-5AF0850A8A59}" destId="{E44C77ED-9A1B-4C0B-B306-73EB93B858DA}" srcOrd="2" destOrd="0" presId="urn:microsoft.com/office/officeart/2005/8/layout/hProcess4"/>
    <dgm:cxn modelId="{C1A55737-B65D-4D30-AA5F-75858F98CECF}" type="presParOf" srcId="{AAFFB455-D7C4-4506-B5D4-5AF0850A8A59}" destId="{48B99019-FB38-4FFF-9C5E-875AB42CE185}" srcOrd="3" destOrd="0" presId="urn:microsoft.com/office/officeart/2005/8/layout/hProcess4"/>
    <dgm:cxn modelId="{7F6BC286-A1A4-41AD-A767-1F3AFC4B0986}" type="presParOf" srcId="{AAFFB455-D7C4-4506-B5D4-5AF0850A8A59}" destId="{F846F079-E6C2-41C2-BE69-59E0F03015B8}" srcOrd="4" destOrd="0" presId="urn:microsoft.com/office/officeart/2005/8/layout/hProcess4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C2620F4-0D59-4309-90A8-C5BB4B86E7A9}">
      <dsp:nvSpPr>
        <dsp:cNvPr id="0" name=""/>
        <dsp:cNvSpPr/>
      </dsp:nvSpPr>
      <dsp:spPr>
        <a:xfrm>
          <a:off x="1102" y="1128692"/>
          <a:ext cx="2190391" cy="1806614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19050" cap="flat" cmpd="sng" algn="ctr">
          <a:solidFill>
            <a:srgbClr val="0070C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MX" sz="1600" kern="1200">
              <a:solidFill>
                <a:schemeClr val="accent6">
                  <a:lumMod val="75000"/>
                </a:schemeClr>
              </a:solidFill>
              <a:latin typeface="Work Sans"/>
              <a:ea typeface="+mn-ea"/>
              <a:cs typeface="+mn-cs"/>
            </a:rPr>
            <a:t>Bases “Banco de Experiencias”</a:t>
          </a:r>
          <a:endParaRPr lang="es-CO" sz="1600" kern="1200">
            <a:solidFill>
              <a:schemeClr val="accent6">
                <a:lumMod val="75000"/>
              </a:schemeClr>
            </a:solidFill>
            <a:latin typeface="Arial"/>
            <a:ea typeface="+mn-ea"/>
            <a:cs typeface="+mn-cs"/>
          </a:endParaRPr>
        </a:p>
      </dsp:txBody>
      <dsp:txXfrm>
        <a:off x="42677" y="1170267"/>
        <a:ext cx="2107241" cy="1336332"/>
      </dsp:txXfrm>
    </dsp:sp>
    <dsp:sp modelId="{0CEFB16F-C098-44B6-AFFE-5A15DB7C7105}">
      <dsp:nvSpPr>
        <dsp:cNvPr id="0" name=""/>
        <dsp:cNvSpPr/>
      </dsp:nvSpPr>
      <dsp:spPr>
        <a:xfrm>
          <a:off x="1231588" y="1557330"/>
          <a:ext cx="2418020" cy="2418020"/>
        </a:xfrm>
        <a:prstGeom prst="leftCircularArrow">
          <a:avLst>
            <a:gd name="adj1" fmla="val 3164"/>
            <a:gd name="adj2" fmla="val 389503"/>
            <a:gd name="adj3" fmla="val 2165013"/>
            <a:gd name="adj4" fmla="val 9024489"/>
            <a:gd name="adj5" fmla="val 3692"/>
          </a:avLst>
        </a:prstGeom>
        <a:solidFill>
          <a:srgbClr val="00B05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A72C19A-673D-4610-A59D-CB3EC54521F6}">
      <dsp:nvSpPr>
        <dsp:cNvPr id="0" name=""/>
        <dsp:cNvSpPr/>
      </dsp:nvSpPr>
      <dsp:spPr>
        <a:xfrm>
          <a:off x="487856" y="2548175"/>
          <a:ext cx="1947014" cy="774263"/>
        </a:xfrm>
        <a:prstGeom prst="roundRect">
          <a:avLst>
            <a:gd name="adj" fmla="val 10000"/>
          </a:avLst>
        </a:prstGeom>
        <a:solidFill>
          <a:srgbClr val="069169"/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4295" tIns="49530" rIns="74295" bIns="49530" numCol="1" spcCol="1270" anchor="ctr" anchorCtr="0">
          <a:noAutofit/>
        </a:bodyPr>
        <a:lstStyle/>
        <a:p>
          <a:pPr marL="0" lvl="0" indent="0" algn="ctr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MX" sz="3900" kern="1200">
              <a:solidFill>
                <a:sysClr val="window" lastClr="FFFFFF"/>
              </a:solidFill>
              <a:latin typeface="Work Sans"/>
              <a:ea typeface="+mn-ea"/>
              <a:cs typeface="+mn-cs"/>
            </a:rPr>
            <a:t>Fase 1: </a:t>
          </a:r>
          <a:endParaRPr lang="es-CO" sz="3900" kern="1200">
            <a:solidFill>
              <a:sysClr val="window" lastClr="FFFFFF"/>
            </a:solidFill>
            <a:latin typeface="Arial"/>
            <a:ea typeface="+mn-ea"/>
            <a:cs typeface="+mn-cs"/>
          </a:endParaRPr>
        </a:p>
      </dsp:txBody>
      <dsp:txXfrm>
        <a:off x="510533" y="2570852"/>
        <a:ext cx="1901660" cy="728909"/>
      </dsp:txXfrm>
    </dsp:sp>
    <dsp:sp modelId="{2C457B49-F93D-42ED-B40C-D7464FEB7869}">
      <dsp:nvSpPr>
        <dsp:cNvPr id="0" name=""/>
        <dsp:cNvSpPr/>
      </dsp:nvSpPr>
      <dsp:spPr>
        <a:xfrm>
          <a:off x="2799222" y="1128692"/>
          <a:ext cx="2190391" cy="1806614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19050" cap="flat" cmpd="sng" algn="ctr">
          <a:solidFill>
            <a:srgbClr val="0070C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MX" sz="1600" kern="1200">
              <a:solidFill>
                <a:schemeClr val="accent6">
                  <a:lumMod val="75000"/>
                </a:schemeClr>
              </a:solidFill>
              <a:latin typeface="Work Sans"/>
              <a:ea typeface="+mn-ea"/>
              <a:cs typeface="+mn-cs"/>
            </a:rPr>
            <a:t>Diseño del </a:t>
          </a:r>
          <a:r>
            <a:rPr lang="es-MX" sz="1600" b="1" kern="1200">
              <a:solidFill>
                <a:schemeClr val="accent6">
                  <a:lumMod val="75000"/>
                </a:schemeClr>
              </a:solidFill>
              <a:latin typeface="Work Sans"/>
              <a:ea typeface="+mn-ea"/>
              <a:cs typeface="+mn-cs"/>
            </a:rPr>
            <a:t>Formato de Registro de casos </a:t>
          </a:r>
          <a:r>
            <a:rPr lang="es-MX" sz="1600" kern="1200">
              <a:solidFill>
                <a:schemeClr val="accent6">
                  <a:lumMod val="75000"/>
                </a:schemeClr>
              </a:solidFill>
              <a:latin typeface="Work Sans"/>
              <a:ea typeface="+mn-ea"/>
              <a:cs typeface="+mn-cs"/>
            </a:rPr>
            <a:t>en el “Banco de experiencias”</a:t>
          </a:r>
          <a:endParaRPr lang="es-CO" sz="1600" kern="1200">
            <a:solidFill>
              <a:schemeClr val="accent6">
                <a:lumMod val="75000"/>
              </a:schemeClr>
            </a:solidFill>
            <a:latin typeface="Arial"/>
            <a:ea typeface="+mn-ea"/>
            <a:cs typeface="+mn-cs"/>
          </a:endParaRPr>
        </a:p>
      </dsp:txBody>
      <dsp:txXfrm>
        <a:off x="2840797" y="1557399"/>
        <a:ext cx="2107241" cy="1336332"/>
      </dsp:txXfrm>
    </dsp:sp>
    <dsp:sp modelId="{AF4BAF8B-E9BB-4F9B-BBA3-FBA8CBC847BC}">
      <dsp:nvSpPr>
        <dsp:cNvPr id="0" name=""/>
        <dsp:cNvSpPr/>
      </dsp:nvSpPr>
      <dsp:spPr>
        <a:xfrm>
          <a:off x="4011455" y="17813"/>
          <a:ext cx="2697903" cy="2697903"/>
        </a:xfrm>
        <a:prstGeom prst="circularArrow">
          <a:avLst>
            <a:gd name="adj1" fmla="val 2836"/>
            <a:gd name="adj2" fmla="val 346411"/>
            <a:gd name="adj3" fmla="val 19478078"/>
            <a:gd name="adj4" fmla="val 12575511"/>
            <a:gd name="adj5" fmla="val 3309"/>
          </a:avLst>
        </a:prstGeom>
        <a:solidFill>
          <a:srgbClr val="F7DB31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32880E0-19FB-4127-854D-C607836C2DD8}">
      <dsp:nvSpPr>
        <dsp:cNvPr id="0" name=""/>
        <dsp:cNvSpPr/>
      </dsp:nvSpPr>
      <dsp:spPr>
        <a:xfrm>
          <a:off x="3285976" y="741560"/>
          <a:ext cx="1947014" cy="774263"/>
        </a:xfrm>
        <a:prstGeom prst="roundRect">
          <a:avLst>
            <a:gd name="adj" fmla="val 10000"/>
          </a:avLst>
        </a:prstGeom>
        <a:solidFill>
          <a:srgbClr val="FF9933"/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4295" tIns="49530" rIns="74295" bIns="49530" numCol="1" spcCol="1270" anchor="ctr" anchorCtr="0">
          <a:noAutofit/>
        </a:bodyPr>
        <a:lstStyle/>
        <a:p>
          <a:pPr marL="0" lvl="0" indent="0" algn="ctr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MX" sz="3900" kern="1200">
              <a:solidFill>
                <a:sysClr val="window" lastClr="FFFFFF"/>
              </a:solidFill>
              <a:latin typeface="Work Sans"/>
              <a:ea typeface="+mn-ea"/>
              <a:cs typeface="+mn-cs"/>
            </a:rPr>
            <a:t>Fase 2: </a:t>
          </a:r>
          <a:endParaRPr lang="es-CO" sz="3900" kern="1200">
            <a:solidFill>
              <a:sysClr val="window" lastClr="FFFFFF"/>
            </a:solidFill>
            <a:latin typeface="Arial"/>
            <a:ea typeface="+mn-ea"/>
            <a:cs typeface="+mn-cs"/>
          </a:endParaRPr>
        </a:p>
      </dsp:txBody>
      <dsp:txXfrm>
        <a:off x="3308653" y="764237"/>
        <a:ext cx="1901660" cy="728909"/>
      </dsp:txXfrm>
    </dsp:sp>
    <dsp:sp modelId="{A5C923BE-74EF-4C9D-B223-EF2538F0156A}">
      <dsp:nvSpPr>
        <dsp:cNvPr id="0" name=""/>
        <dsp:cNvSpPr/>
      </dsp:nvSpPr>
      <dsp:spPr>
        <a:xfrm>
          <a:off x="5597342" y="1128692"/>
          <a:ext cx="2190391" cy="1806614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12700" cap="flat" cmpd="sng" algn="ctr">
          <a:solidFill>
            <a:srgbClr val="0070C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MX" sz="1600" b="1" kern="1200">
              <a:solidFill>
                <a:schemeClr val="accent6">
                  <a:lumMod val="75000"/>
                </a:schemeClr>
              </a:solidFill>
              <a:latin typeface="Work Sans"/>
              <a:ea typeface="+mn-ea"/>
              <a:cs typeface="+mn-cs"/>
            </a:rPr>
            <a:t>Diseño de formato digital </a:t>
          </a:r>
          <a:r>
            <a:rPr lang="es-MX" sz="1600" kern="1200">
              <a:solidFill>
                <a:schemeClr val="accent6">
                  <a:lumMod val="75000"/>
                </a:schemeClr>
              </a:solidFill>
              <a:latin typeface="Work Sans"/>
              <a:ea typeface="+mn-ea"/>
              <a:cs typeface="+mn-cs"/>
            </a:rPr>
            <a:t>para Registro de casos del Banco de experiencias</a:t>
          </a:r>
          <a:endParaRPr lang="es-CO" sz="1600" kern="1200">
            <a:solidFill>
              <a:schemeClr val="accent6">
                <a:lumMod val="75000"/>
              </a:schemeClr>
            </a:solidFill>
            <a:latin typeface="Arial"/>
            <a:ea typeface="+mn-ea"/>
            <a:cs typeface="+mn-cs"/>
          </a:endParaRPr>
        </a:p>
      </dsp:txBody>
      <dsp:txXfrm>
        <a:off x="5638917" y="1170267"/>
        <a:ext cx="2107241" cy="1336332"/>
      </dsp:txXfrm>
    </dsp:sp>
    <dsp:sp modelId="{48B99019-FB38-4FFF-9C5E-875AB42CE185}">
      <dsp:nvSpPr>
        <dsp:cNvPr id="0" name=""/>
        <dsp:cNvSpPr/>
      </dsp:nvSpPr>
      <dsp:spPr>
        <a:xfrm>
          <a:off x="6084096" y="2548175"/>
          <a:ext cx="1947014" cy="774263"/>
        </a:xfrm>
        <a:prstGeom prst="roundRect">
          <a:avLst>
            <a:gd name="adj" fmla="val 10000"/>
          </a:avLst>
        </a:prstGeom>
        <a:solidFill>
          <a:schemeClr val="tx2">
            <a:lumMod val="50000"/>
          </a:scheme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4295" tIns="49530" rIns="74295" bIns="49530" numCol="1" spcCol="1270" anchor="ctr" anchorCtr="0">
          <a:noAutofit/>
        </a:bodyPr>
        <a:lstStyle/>
        <a:p>
          <a:pPr marL="0" lvl="0" indent="0" algn="ctr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MX" sz="3900" kern="1200">
              <a:solidFill>
                <a:sysClr val="window" lastClr="FFFFFF"/>
              </a:solidFill>
              <a:latin typeface="Work Sans"/>
              <a:ea typeface="+mn-ea"/>
              <a:cs typeface="+mn-cs"/>
            </a:rPr>
            <a:t>Fase 3: </a:t>
          </a:r>
          <a:endParaRPr lang="es-CO" sz="3900" kern="1200">
            <a:solidFill>
              <a:sysClr val="window" lastClr="FFFFFF"/>
            </a:solidFill>
            <a:latin typeface="Arial"/>
            <a:ea typeface="+mn-ea"/>
            <a:cs typeface="+mn-cs"/>
          </a:endParaRPr>
        </a:p>
      </dsp:txBody>
      <dsp:txXfrm>
        <a:off x="6106773" y="2570852"/>
        <a:ext cx="1901660" cy="72890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4">
  <dgm:title val=""/>
  <dgm:desc val=""/>
  <dgm:catLst>
    <dgm:cat type="process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tSp" refType="w"/>
      <dgm:constr type="h" for="ch" forName="tSp" refType="h" fact="0.15"/>
      <dgm:constr type="l" for="ch" forName="tSp"/>
      <dgm:constr type="t" for="ch" forName="tSp"/>
      <dgm:constr type="w" for="ch" forName="bSp" refType="w"/>
      <dgm:constr type="h" for="ch" forName="bSp" refType="h" fact="0.15"/>
      <dgm:constr type="l" for="ch" forName="bSp"/>
      <dgm:constr type="t" for="ch" forName="bSp" refType="h" fact="0.85"/>
      <dgm:constr type="w" for="ch" forName="process" refType="w"/>
      <dgm:constr type="h" for="ch" forName="process" refType="h" fact="0.7"/>
      <dgm:constr type="l" for="ch" forName="process"/>
      <dgm:constr type="t" for="ch" forName="process" refType="h" fact="0.15"/>
    </dgm:constrLst>
    <dgm:ruleLst/>
    <dgm:layoutNode name="t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b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process">
      <dgm:choose name="Name1">
        <dgm:if name="Name2" func="var" arg="dir" op="equ" val="norm">
          <dgm:alg type="lin">
            <dgm:param type="linDir" val="fromL"/>
          </dgm:alg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1" refType="w"/>
        <dgm:constr type="w" for="ch" forName="composite2" refType="w" refFor="ch" refForName="composite1" op="equ"/>
        <dgm:constr type="h" for="ch" forName="composite1" refType="h"/>
        <dgm:constr type="h" for="ch" forName="composite2" refType="h" refFor="ch" refForName="composite1" op="equ"/>
        <dgm:constr type="primFontSz" for="des" forName="parentNode1" val="65"/>
        <dgm:constr type="primFontSz" for="des" forName="parentNode2" refType="primFontSz" refFor="des" refForName="parentNode1" op="equ"/>
        <dgm:constr type="secFontSz" for="des" forName="childNode1tx" val="65"/>
        <dgm:constr type="secFontSz" for="des" forName="childNode2tx" refType="secFontSz" refFor="des" refForName="childNode1tx" op="equ"/>
        <dgm:constr type="w" for="des" ptType="sibTrans" refType="w" refFor="ch" refForName="composite1" op="equ" fact="0.05"/>
      </dgm:constrLst>
      <dgm:ruleLst/>
      <dgm:forEach name="Name4" axis="ch" ptType="node" step="2">
        <dgm:layoutNode name="composite1">
          <dgm:alg type="composite">
            <dgm:param type="ar" val="0.943"/>
          </dgm:alg>
          <dgm:shape xmlns:r="http://schemas.openxmlformats.org/officeDocument/2006/relationships" r:blip="">
            <dgm:adjLst/>
          </dgm:shape>
          <dgm:presOf/>
          <dgm:choose name="Name5">
            <dgm:if name="Name6" func="var" arg="dir" op="equ" val="norm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 refType="w" fact="0.2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35"/>
              </dgm:constrLst>
            </dgm:if>
            <dgm:else name="Name7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 refType="w" fact="0.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 refType="w" fact="0.1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65"/>
              </dgm:constrLst>
            </dgm:else>
          </dgm:choose>
          <dgm:ruleLst/>
          <dgm:layoutNode name="dummyNode1">
            <dgm:alg type="sp"/>
            <dgm:shape xmlns:r="http://schemas.openxmlformats.org/officeDocument/2006/relationships" type="rect" r:blip="" hideGeom="1">
              <dgm:adjLst/>
            </dgm:shape>
            <dgm:presOf/>
            <dgm:constrLst/>
            <dgm:ruleLst/>
          </dgm:layoutNode>
          <dgm:layoutNode name="childNode1" styleLbl="bgAcc1">
            <dgm:varLst>
              <dgm:bulletEnabled val="1"/>
            </dgm:varLst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/>
            <dgm:ruleLst/>
          </dgm:layoutNode>
          <dgm:layoutNode name="childNode1tx" styleLbl="bgAcc1">
            <dgm:varLst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 axis="des" ptType="node"/>
            <dgm:constrLst>
              <dgm:constr type="secFontSz" val="65"/>
              <dgm:constr type="primFontSz" refType="secFontSz"/>
              <dgm:constr type="tMarg" refType="secFontSz" fact="0.15"/>
              <dgm:constr type="bMarg" refType="secFontSz" fact="0.15"/>
              <dgm:constr type="lMarg" refType="secFontSz" fact="0.15"/>
              <dgm:constr type="rMarg" refType="secFontSz" fact="0.15"/>
            </dgm:constrLst>
            <dgm:ruleLst>
              <dgm:rule type="secFontSz" val="5" fact="NaN" max="NaN"/>
            </dgm:ruleLst>
          </dgm:layoutNode>
          <dgm:layoutNode name="parentNode1" styleLbl="node1">
            <dgm:varLst>
              <dgm:chMax val="1"/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1"/>
              <dgm:constr type="bMarg" refType="primFontSz" fact="0.1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  <dgm:layoutNode name="connSite1" moveWith="childNode1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forEach name="Name8" axis="followSib" ptType="sibTrans" cnt="1">
          <dgm:layoutNode name="Name9">
            <dgm:alg type="conn">
              <dgm:param type="connRout" val="curve"/>
              <dgm:param type="srcNode" val="parentNode1"/>
              <dgm:param type="dstNode" val="connSite2"/>
              <dgm:param type="begPts" val="bCtr"/>
              <dgm:param type="endPts" val="bCtr"/>
            </dgm:alg>
            <dgm:shape xmlns:r="http://schemas.openxmlformats.org/officeDocument/2006/relationships" type="conn" r:blip="" zOrderOff="-2">
              <dgm:adjLst/>
            </dgm:shape>
            <dgm:presOf axis="self"/>
            <dgm:choose name="Name10">
              <dgm:if name="Name11" func="var" arg="dir" op="equ" val="norm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-1.15"/>
                  <dgm:constr type="begPad"/>
                  <dgm:constr type="endPad"/>
                </dgm:constrLst>
              </dgm:if>
              <dgm:else name="Name12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1.15"/>
                  <dgm:constr type="begPad"/>
                  <dgm:constr type="endPad"/>
                </dgm:constrLst>
              </dgm:else>
            </dgm:choose>
            <dgm:ruleLst/>
          </dgm:layoutNode>
        </dgm:forEach>
        <dgm:forEach name="Name13" axis="followSib" ptType="node" cnt="1">
          <dgm:layoutNode name="composite2">
            <dgm:alg type="composite">
              <dgm:param type="ar" val="0.943"/>
            </dgm:alg>
            <dgm:shape xmlns:r="http://schemas.openxmlformats.org/officeDocument/2006/relationships" r:blip="">
              <dgm:adjLst/>
            </dgm:shape>
            <dgm:presOf/>
            <dgm:choose name="Name14">
              <dgm:if name="Name15" func="var" arg="dir" op="equ" val="norm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 refType="w" fact="0.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25"/>
                </dgm:constrLst>
              </dgm:if>
              <dgm:else name="Name16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 refType="w" fact="0.1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 refType="w" fact="0.1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85"/>
                </dgm:constrLst>
              </dgm:else>
            </dgm:choose>
            <dgm:ruleLst/>
            <dgm:layoutNode name="dummyNode2">
              <dgm:alg type="sp"/>
              <dgm:shape xmlns:r="http://schemas.openxmlformats.org/officeDocument/2006/relationships" type="rect" r:blip="" hideGeom="1">
                <dgm:adjLst/>
              </dgm:shape>
              <dgm:presOf/>
              <dgm:constrLst/>
              <dgm:ruleLst/>
            </dgm:layoutNode>
            <dgm:layoutNode name="childNode2" styleLbl="bgAcc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des" ptType="node"/>
              <dgm:constrLst/>
              <dgm:ruleLst/>
            </dgm:layoutNode>
            <dgm:layoutNode name="childNode2tx" styleLbl="bgAcc1">
              <dgm:varLst>
                <dgm:bulletEnabled val="1"/>
              </dgm:varLst>
              <dgm:alg type="tx">
                <dgm:param type="stBulletLvl" val="1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15"/>
                <dgm:constr type="bMarg" refType="secFontSz" fact="0.15"/>
                <dgm:constr type="lMarg" refType="secFontSz" fact="0.15"/>
                <dgm:constr type="rMarg" refType="secFontSz" fact="0.15"/>
              </dgm:constrLst>
              <dgm:ruleLst>
                <dgm:rule type="secFontSz" val="5" fact="NaN" max="NaN"/>
              </dgm:ruleLst>
            </dgm:layoutNode>
            <dgm:layoutNode name="parentNode2" styleLbl="node1">
              <dgm:varLst>
                <dgm:chMax val="0"/>
                <dgm:bulletEnabled val="1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connSite2" moveWith="childNode2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layoutNode>
          <dgm:forEach name="Name17" axis="followSib" ptType="sibTrans" cnt="1">
            <dgm:layoutNode name="Name18">
              <dgm:alg type="conn">
                <dgm:param type="connRout" val="curve"/>
                <dgm:param type="srcNode" val="parentNode2"/>
                <dgm:param type="dstNode" val="connSite1"/>
                <dgm:param type="begPts" val="tCtr"/>
                <dgm:param type="endPts" val="tCtr"/>
              </dgm:alg>
              <dgm:shape xmlns:r="http://schemas.openxmlformats.org/officeDocument/2006/relationships" type="conn" r:blip="" zOrderOff="-2">
                <dgm:adjLst/>
              </dgm:shape>
              <dgm:presOf axis="self"/>
              <dgm:choose name="Name19">
                <dgm:if name="Name20" func="var" arg="dir" op="equ" val="norm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1.15"/>
                    <dgm:constr type="begPad"/>
                    <dgm:constr type="endPad"/>
                  </dgm:constrLst>
                </dgm:if>
                <dgm:else name="Name21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-1.15"/>
                    <dgm:constr type="begPad"/>
                    <dgm:constr type="endPad"/>
                  </dgm:constrLst>
                </dgm:else>
              </dgm:choose>
              <dgm:ruleLst/>
            </dgm:layoutNode>
          </dgm:forEach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912686D-009B-4755-BF3C-B1645D0A938E}" type="datetimeFigureOut">
              <a:rPr lang="es-ES" smtClean="0"/>
              <a:t>25/11/2021</a:t>
            </a:fld>
            <a:endParaRPr lang="es-ES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CDAE71F-6302-4695-A732-5DA60A1BF971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86641845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1143206" y="685800"/>
            <a:ext cx="45723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678417085"/>
      </p:ext>
    </p:extLst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Google Shape;119;g495ef59f35_0_4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0" name="Google Shape;120;g495ef59f35_0_4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7192622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1" name="Google Shape;211;p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2" name="Google Shape;212;p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422740598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8" name="Google Shape;198;p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9" name="Google Shape;199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83770023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" name="Google Shape;205;p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06" name="Google Shape;206;p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03361778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" name="Google Shape;234;p1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35" name="Google Shape;235;p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57772892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1" name="Google Shape;211;p10:notes"/>
          <p:cNvSpPr txBox="1">
            <a:spLocks noGrp="1"/>
          </p:cNvSpPr>
          <p:nvPr>
            <p:ph type="body" idx="1"/>
          </p:nvPr>
        </p:nvSpPr>
        <p:spPr>
          <a:xfrm>
            <a:off x="700405" y="4415790"/>
            <a:ext cx="5603240" cy="4183380"/>
          </a:xfrm>
          <a:prstGeom prst="rect">
            <a:avLst/>
          </a:prstGeom>
        </p:spPr>
        <p:txBody>
          <a:bodyPr spcFirstLastPara="1" wrap="square" lIns="93117" tIns="93117" rIns="93117" bIns="93117" anchor="t" anchorCtr="0">
            <a:noAutofit/>
          </a:bodyPr>
          <a:lstStyle/>
          <a:p>
            <a:pPr marL="311150" indent="-171450" algn="just">
              <a:lnSpc>
                <a:spcPct val="90000"/>
              </a:lnSpc>
              <a:spcBef>
                <a:spcPts val="800"/>
              </a:spcBef>
              <a:buClr>
                <a:srgbClr val="0054BC"/>
              </a:buClr>
              <a:buSzPts val="1400"/>
              <a:buFont typeface="Arial" panose="020B0604020202020204" pitchFamily="34" charset="0"/>
              <a:buChar char="•"/>
              <a:tabLst>
                <a:tab pos="0" algn="l"/>
              </a:tabLst>
              <a:defRPr/>
            </a:pPr>
            <a:r>
              <a:rPr lang="es-CO" sz="1100">
                <a:solidFill>
                  <a:srgbClr val="0070C0"/>
                </a:solidFill>
                <a:latin typeface="Work Sans"/>
                <a:sym typeface="Work Sans"/>
              </a:rPr>
              <a:t>El Dorado (2007-2027)</a:t>
            </a:r>
          </a:p>
          <a:p>
            <a:pPr marL="311150" lvl="0" indent="-171450" algn="just" defTabSz="914400" eaLnBrk="1" fontAlgn="auto" latinLnBrk="0" hangingPunct="1">
              <a:lnSpc>
                <a:spcPct val="90000"/>
              </a:lnSpc>
              <a:spcBef>
                <a:spcPts val="800"/>
              </a:spcBef>
              <a:buClr>
                <a:srgbClr val="0054BC"/>
              </a:buClr>
              <a:buSzPts val="1400"/>
              <a:buFont typeface="Arial" panose="020B0604020202020204" pitchFamily="34" charset="0"/>
              <a:buChar char="•"/>
              <a:tabLst>
                <a:tab pos="0" algn="l"/>
              </a:tabLst>
              <a:defRPr/>
            </a:pPr>
            <a:r>
              <a:rPr lang="es-CO" sz="1100">
                <a:solidFill>
                  <a:srgbClr val="0070C0"/>
                </a:solidFill>
                <a:latin typeface="Work Sans"/>
                <a:sym typeface="Work Sans"/>
              </a:rPr>
              <a:t>Cartagena (1996 – 2013)</a:t>
            </a:r>
          </a:p>
          <a:p>
            <a:pPr marL="311150" lvl="0" indent="-171450" algn="just" defTabSz="914400" eaLnBrk="1" fontAlgn="auto" latinLnBrk="0" hangingPunct="1">
              <a:lnSpc>
                <a:spcPct val="90000"/>
              </a:lnSpc>
              <a:spcBef>
                <a:spcPts val="800"/>
              </a:spcBef>
              <a:buClr>
                <a:srgbClr val="0054BC"/>
              </a:buClr>
              <a:buSzPts val="1400"/>
              <a:buFont typeface="Arial" panose="020B0604020202020204" pitchFamily="34" charset="0"/>
              <a:buChar char="•"/>
              <a:tabLst>
                <a:tab pos="0" algn="l"/>
              </a:tabLst>
              <a:defRPr/>
            </a:pPr>
            <a:r>
              <a:rPr lang="es-CO" sz="1100">
                <a:solidFill>
                  <a:srgbClr val="0070C0"/>
                </a:solidFill>
                <a:latin typeface="Work Sans"/>
                <a:sym typeface="Work Sans"/>
              </a:rPr>
              <a:t>Barranquilla  (2015 – 2035)</a:t>
            </a:r>
          </a:p>
          <a:p>
            <a:pPr marL="311150" lvl="0" indent="-171450" algn="just" defTabSz="914400" eaLnBrk="1" fontAlgn="auto" latinLnBrk="0" hangingPunct="1">
              <a:lnSpc>
                <a:spcPct val="90000"/>
              </a:lnSpc>
              <a:spcBef>
                <a:spcPts val="800"/>
              </a:spcBef>
              <a:buClr>
                <a:srgbClr val="0054BC"/>
              </a:buClr>
              <a:buSzPts val="1400"/>
              <a:buFont typeface="Arial" panose="020B0604020202020204" pitchFamily="34" charset="0"/>
              <a:buChar char="•"/>
              <a:tabLst>
                <a:tab pos="0" algn="l"/>
              </a:tabLst>
              <a:defRPr/>
            </a:pPr>
            <a:r>
              <a:rPr lang="es-CO" sz="1100">
                <a:solidFill>
                  <a:srgbClr val="0070C0"/>
                </a:solidFill>
                <a:latin typeface="Work Sans"/>
                <a:sym typeface="Work Sans"/>
              </a:rPr>
              <a:t>Cali (2000 – 2020)</a:t>
            </a:r>
          </a:p>
          <a:p>
            <a:pPr marL="311150" indent="-171450" algn="just">
              <a:lnSpc>
                <a:spcPct val="90000"/>
              </a:lnSpc>
              <a:spcBef>
                <a:spcPts val="800"/>
              </a:spcBef>
              <a:buClr>
                <a:srgbClr val="0054BC"/>
              </a:buClr>
              <a:buSzPts val="1400"/>
              <a:buFont typeface="Arial" panose="020B0604020202020204" pitchFamily="34" charset="0"/>
              <a:buChar char="•"/>
              <a:tabLst>
                <a:tab pos="0" algn="l"/>
              </a:tabLst>
              <a:defRPr/>
            </a:pPr>
            <a:r>
              <a:rPr lang="es-CO" sz="1100">
                <a:solidFill>
                  <a:srgbClr val="0070C0"/>
                </a:solidFill>
                <a:latin typeface="Work Sans"/>
                <a:sym typeface="Work Sans"/>
              </a:rPr>
              <a:t>Concesión Grupo de aeropuertos Centro Norte (2008 - 2033): Medellín, Rionegro, Quibdó, Carepa, Montería, Corozal</a:t>
            </a:r>
          </a:p>
          <a:p>
            <a:pPr marL="311150" indent="-171450" algn="just">
              <a:lnSpc>
                <a:spcPct val="90000"/>
              </a:lnSpc>
              <a:spcBef>
                <a:spcPts val="800"/>
              </a:spcBef>
              <a:buClr>
                <a:srgbClr val="0054BC"/>
              </a:buClr>
              <a:buSzPts val="1400"/>
              <a:buFont typeface="Arial" panose="020B0604020202020204" pitchFamily="34" charset="0"/>
              <a:buChar char="•"/>
              <a:tabLst>
                <a:tab pos="0" algn="l"/>
              </a:tabLst>
              <a:defRPr/>
            </a:pPr>
            <a:r>
              <a:rPr lang="es-CO" sz="1100">
                <a:solidFill>
                  <a:srgbClr val="0070C0"/>
                </a:solidFill>
                <a:latin typeface="Work Sans"/>
                <a:sym typeface="Work Sans"/>
              </a:rPr>
              <a:t>Concesión Grupo de Aeropuertos Nororiente (2010 - 2034): Santa Marta, Cúcuta, Valledupar, Barrancabermeja, Riohacha, Bucaramanga.</a:t>
            </a:r>
          </a:p>
          <a:p>
            <a:pPr marL="0" indent="0">
              <a:buNone/>
            </a:pPr>
            <a:endParaRPr/>
          </a:p>
        </p:txBody>
      </p:sp>
      <p:sp>
        <p:nvSpPr>
          <p:cNvPr id="212" name="Google Shape;212;p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403225" y="698500"/>
            <a:ext cx="6197600" cy="34861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53293670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0" name="Google Shape;240;g461050eefc_0_2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1" name="Google Shape;241;g461050eefc_0_2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00155829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" name="Google Shape;205;p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06" name="Google Shape;206;p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10786737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8" name="Google Shape;198;p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9" name="Google Shape;199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6331907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apositiva de título 1 1 1" preserve="1" userDrawn="1">
  <p:cSld name="1_Diapositiva de título 1 1 1">
    <p:bg>
      <p:bgPr>
        <a:solidFill>
          <a:srgbClr val="069169"/>
        </a:solidFill>
        <a:effectLst/>
      </p:bgPr>
    </p:bg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5"/>
          <p:cNvSpPr txBox="1"/>
          <p:nvPr/>
        </p:nvSpPr>
        <p:spPr>
          <a:xfrm>
            <a:off x="8336496" y="54646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fld id="{00000000-1234-1234-1234-123412341234}" type="slidenum">
              <a:rPr lang="es-CO" sz="7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rPr>
              <a:t>‹#›</a:t>
            </a:fld>
            <a:endParaRPr sz="700" b="0" i="0" u="none" strike="noStrike" cap="none">
              <a:solidFill>
                <a:srgbClr val="0054BC"/>
              </a:solidFill>
              <a:latin typeface="Work Sans"/>
              <a:ea typeface="Work Sans"/>
              <a:cs typeface="Work Sans"/>
              <a:sym typeface="Work Sans"/>
            </a:endParaRPr>
          </a:p>
        </p:txBody>
      </p:sp>
      <p:sp>
        <p:nvSpPr>
          <p:cNvPr id="31" name="Google Shape;31;p5"/>
          <p:cNvSpPr txBox="1"/>
          <p:nvPr userDrawn="1"/>
        </p:nvSpPr>
        <p:spPr>
          <a:xfrm>
            <a:off x="8336496" y="-21554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fld id="{00000000-1234-1234-1234-123412341234}" type="slidenum">
              <a:rPr lang="es-CO" sz="700" b="0" i="0" u="none" strike="noStrike" cap="none">
                <a:solidFill>
                  <a:srgbClr val="FFFFFF"/>
                </a:solidFill>
                <a:latin typeface="Work Sans"/>
                <a:ea typeface="Work Sans"/>
                <a:cs typeface="Work Sans"/>
                <a:sym typeface="Work Sans"/>
              </a:rPr>
              <a:t>‹#›</a:t>
            </a:fld>
            <a:endParaRPr sz="700" b="0" i="0" u="none" strike="noStrike" cap="none">
              <a:solidFill>
                <a:srgbClr val="FFFFFF"/>
              </a:solidFill>
              <a:latin typeface="Work Sans"/>
              <a:ea typeface="Work Sans"/>
              <a:cs typeface="Work Sans"/>
              <a:sym typeface="Work Sans"/>
            </a:endParaRPr>
          </a:p>
        </p:txBody>
      </p:sp>
      <p:sp>
        <p:nvSpPr>
          <p:cNvPr id="32" name="Google Shape;32;p5"/>
          <p:cNvSpPr/>
          <p:nvPr/>
        </p:nvSpPr>
        <p:spPr>
          <a:xfrm>
            <a:off x="3213694" y="0"/>
            <a:ext cx="5935223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3" name="Google Shape;33;p5"/>
          <p:cNvSpPr txBox="1"/>
          <p:nvPr/>
        </p:nvSpPr>
        <p:spPr>
          <a:xfrm>
            <a:off x="1098468" y="4856142"/>
            <a:ext cx="4293000" cy="34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s-CO" sz="600" b="0" i="0" u="none" strike="noStrike" cap="none">
                <a:solidFill>
                  <a:schemeClr val="lt1"/>
                </a:solidFill>
                <a:latin typeface="Work Sans"/>
                <a:ea typeface="Work Sans"/>
                <a:cs typeface="Work Sans"/>
                <a:sym typeface="Work Sans"/>
              </a:rPr>
              <a:t>Esta presentación es propiedad intelectual controlada y producida por la Presidencia de la República.</a:t>
            </a:r>
            <a:endParaRPr sz="600" b="0" i="0" u="none" strike="noStrike" cap="none">
              <a:solidFill>
                <a:schemeClr val="lt1"/>
              </a:solidFill>
              <a:latin typeface="Work Sans"/>
              <a:ea typeface="Work Sans"/>
              <a:cs typeface="Work Sans"/>
              <a:sym typeface="Work Sans"/>
            </a:endParaRP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2FAB7457-61BC-0144-984D-ACFC03D1DF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93892" y="346605"/>
            <a:ext cx="2616953" cy="746654"/>
          </a:xfrm>
          <a:prstGeom prst="rect">
            <a:avLst/>
          </a:prstGeom>
        </p:spPr>
      </p:pic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09EBB03E-157E-1743-86F1-8874FFB41BE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61004" y="1439863"/>
            <a:ext cx="5149596" cy="1349375"/>
          </a:xfrm>
        </p:spPr>
        <p:txBody>
          <a:bodyPr/>
          <a:lstStyle>
            <a:lvl1pPr marL="95250" indent="0" algn="r">
              <a:buNone/>
              <a:defRPr sz="3000">
                <a:solidFill>
                  <a:srgbClr val="0054BC"/>
                </a:solidFill>
              </a:defRPr>
            </a:lvl1pPr>
          </a:lstStyle>
          <a:p>
            <a:r>
              <a:rPr lang="es-ES"/>
              <a:t>Editar los estilos de texto del patrón</a:t>
            </a:r>
            <a:endParaRPr lang="es-CO"/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06C4BAFA-CF82-7743-AB31-DAA7A61A692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7366" y="3771884"/>
            <a:ext cx="3904083" cy="7320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51146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B1A5DA-6CC5-4AF5-B2B2-F09C11C76C1E}" type="datetimeFigureOut">
              <a:rPr lang="en-US" smtClean="0"/>
              <a:t>11/25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BB1C66-FA8D-4808-9D8E-AE1AD44AB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32842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apositiva de título 1 1 1" preserve="1" userDrawn="1">
  <p:cSld name="1_Diapositiva de título 1 1 1">
    <p:bg>
      <p:bgPr>
        <a:solidFill>
          <a:srgbClr val="069169"/>
        </a:solidFill>
        <a:effectLst/>
      </p:bgPr>
    </p:bg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5"/>
          <p:cNvSpPr txBox="1"/>
          <p:nvPr/>
        </p:nvSpPr>
        <p:spPr>
          <a:xfrm>
            <a:off x="8336496" y="54646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fld id="{00000000-1234-1234-1234-123412341234}" type="slidenum">
              <a:rPr lang="es-CO" sz="7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rPr>
              <a:t>‹#›</a:t>
            </a:fld>
            <a:endParaRPr sz="700" b="0" i="0" u="none" strike="noStrike" cap="none">
              <a:solidFill>
                <a:srgbClr val="0054BC"/>
              </a:solidFill>
              <a:latin typeface="Work Sans"/>
              <a:ea typeface="Work Sans"/>
              <a:cs typeface="Work Sans"/>
              <a:sym typeface="Work Sans"/>
            </a:endParaRPr>
          </a:p>
        </p:txBody>
      </p:sp>
      <p:sp>
        <p:nvSpPr>
          <p:cNvPr id="31" name="Google Shape;31;p5"/>
          <p:cNvSpPr txBox="1"/>
          <p:nvPr userDrawn="1"/>
        </p:nvSpPr>
        <p:spPr>
          <a:xfrm>
            <a:off x="8336496" y="-21554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fld id="{00000000-1234-1234-1234-123412341234}" type="slidenum">
              <a:rPr lang="es-CO" sz="700" b="0" i="0" u="none" strike="noStrike" cap="none">
                <a:solidFill>
                  <a:srgbClr val="FFFFFF"/>
                </a:solidFill>
                <a:latin typeface="Work Sans"/>
                <a:ea typeface="Work Sans"/>
                <a:cs typeface="Work Sans"/>
                <a:sym typeface="Work Sans"/>
              </a:rPr>
              <a:t>‹#›</a:t>
            </a:fld>
            <a:endParaRPr sz="700" b="0" i="0" u="none" strike="noStrike" cap="none">
              <a:solidFill>
                <a:srgbClr val="FFFFFF"/>
              </a:solidFill>
              <a:latin typeface="Work Sans"/>
              <a:ea typeface="Work Sans"/>
              <a:cs typeface="Work Sans"/>
              <a:sym typeface="Work Sans"/>
            </a:endParaRPr>
          </a:p>
        </p:txBody>
      </p:sp>
      <p:sp>
        <p:nvSpPr>
          <p:cNvPr id="32" name="Google Shape;32;p5"/>
          <p:cNvSpPr/>
          <p:nvPr/>
        </p:nvSpPr>
        <p:spPr>
          <a:xfrm>
            <a:off x="3213694" y="0"/>
            <a:ext cx="5935223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3" name="Google Shape;33;p5"/>
          <p:cNvSpPr txBox="1"/>
          <p:nvPr/>
        </p:nvSpPr>
        <p:spPr>
          <a:xfrm>
            <a:off x="1098468" y="4856142"/>
            <a:ext cx="4293000" cy="34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s-CO" sz="600" b="0" i="0" u="none" strike="noStrike" cap="none">
                <a:solidFill>
                  <a:schemeClr val="lt1"/>
                </a:solidFill>
                <a:latin typeface="Work Sans"/>
                <a:ea typeface="Work Sans"/>
                <a:cs typeface="Work Sans"/>
                <a:sym typeface="Work Sans"/>
              </a:rPr>
              <a:t>Esta presentación es propiedad intelectual controlada y producida por la Presidencia de la República.</a:t>
            </a:r>
            <a:endParaRPr sz="600" b="0" i="0" u="none" strike="noStrike" cap="none">
              <a:solidFill>
                <a:schemeClr val="lt1"/>
              </a:solidFill>
              <a:latin typeface="Work Sans"/>
              <a:ea typeface="Work Sans"/>
              <a:cs typeface="Work Sans"/>
              <a:sym typeface="Work Sans"/>
            </a:endParaRP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2FAB7457-61BC-0144-984D-ACFC03D1DFB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93892" y="346605"/>
            <a:ext cx="2616953" cy="746654"/>
          </a:xfrm>
          <a:prstGeom prst="rect">
            <a:avLst/>
          </a:prstGeom>
        </p:spPr>
      </p:pic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09EBB03E-157E-1743-86F1-8874FFB41BE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61004" y="1439863"/>
            <a:ext cx="5149596" cy="1349375"/>
          </a:xfrm>
        </p:spPr>
        <p:txBody>
          <a:bodyPr/>
          <a:lstStyle>
            <a:lvl1pPr marL="95250" indent="0" algn="r">
              <a:buNone/>
              <a:defRPr sz="3000">
                <a:solidFill>
                  <a:srgbClr val="0054BC"/>
                </a:solidFill>
              </a:defRPr>
            </a:lvl1pPr>
          </a:lstStyle>
          <a:p>
            <a:r>
              <a:rPr lang="es-ES"/>
              <a:t>Editar los estilos de texto del patrón</a:t>
            </a:r>
            <a:endParaRPr lang="es-CO"/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06C4BAFA-CF82-7743-AB31-DAA7A61A692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366" y="3771884"/>
            <a:ext cx="3904083" cy="7320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03167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ítulo y texto">
  <p:cSld name="1_Título y texto">
    <p:bg>
      <p:bgPr>
        <a:solidFill>
          <a:srgbClr val="DCEAFB"/>
        </a:solidFill>
        <a:effectLst/>
      </p:bgPr>
    </p:bg>
    <p:spTree>
      <p:nvGrpSpPr>
        <p:cNvPr id="1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9"/>
          <p:cNvSpPr txBox="1">
            <a:spLocks noGrp="1"/>
          </p:cNvSpPr>
          <p:nvPr>
            <p:ph type="body" idx="1"/>
          </p:nvPr>
        </p:nvSpPr>
        <p:spPr>
          <a:xfrm>
            <a:off x="3768286" y="2287388"/>
            <a:ext cx="4540639" cy="171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L="457200" lvl="0" indent="-2286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66CD"/>
              </a:buClr>
              <a:buSzPts val="1100"/>
              <a:buNone/>
              <a:defRPr sz="1100">
                <a:solidFill>
                  <a:srgbClr val="0066CD"/>
                </a:solidFill>
              </a:defRPr>
            </a:lvl1pPr>
            <a:lvl2pPr marL="914400" lvl="1" indent="-29845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66CD"/>
              </a:buClr>
              <a:buSzPts val="1100"/>
              <a:buChar char="•"/>
              <a:defRPr sz="1100">
                <a:solidFill>
                  <a:srgbClr val="0066CD"/>
                </a:solidFill>
              </a:defRPr>
            </a:lvl2pPr>
            <a:lvl3pPr marL="1371600" lvl="2" indent="-29845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66CD"/>
              </a:buClr>
              <a:buSzPts val="1100"/>
              <a:buChar char="•"/>
              <a:defRPr sz="1100">
                <a:solidFill>
                  <a:srgbClr val="0066CD"/>
                </a:solidFill>
              </a:defRPr>
            </a:lvl3pPr>
            <a:lvl4pPr marL="1828800" lvl="3" indent="-29845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66CD"/>
              </a:buClr>
              <a:buSzPts val="1100"/>
              <a:buChar char="•"/>
              <a:defRPr sz="1100">
                <a:solidFill>
                  <a:srgbClr val="0066CD"/>
                </a:solidFill>
              </a:defRPr>
            </a:lvl4pPr>
            <a:lvl5pPr marL="2286000" lvl="4" indent="-29845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66CD"/>
              </a:buClr>
              <a:buSzPts val="1100"/>
              <a:buChar char="•"/>
              <a:defRPr sz="1100">
                <a:solidFill>
                  <a:srgbClr val="0066CD"/>
                </a:solidFill>
              </a:defRPr>
            </a:lvl5pPr>
            <a:lvl6pPr marL="2743200" lvl="5" indent="-29845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66CD"/>
              </a:buClr>
              <a:buSzPts val="1100"/>
              <a:buChar char="•"/>
              <a:defRPr sz="1100">
                <a:solidFill>
                  <a:srgbClr val="0066CD"/>
                </a:solidFill>
              </a:defRPr>
            </a:lvl6pPr>
            <a:lvl7pPr marL="3200400" lvl="6" indent="-29845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66CD"/>
              </a:buClr>
              <a:buSzPts val="1100"/>
              <a:buChar char="•"/>
              <a:defRPr sz="1100">
                <a:solidFill>
                  <a:srgbClr val="0066CD"/>
                </a:solidFill>
              </a:defRPr>
            </a:lvl7pPr>
            <a:lvl8pPr marL="3657600" lvl="7" indent="-29845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66CD"/>
              </a:buClr>
              <a:buSzPts val="1100"/>
              <a:buChar char="•"/>
              <a:defRPr sz="1100">
                <a:solidFill>
                  <a:srgbClr val="0066CD"/>
                </a:solidFill>
              </a:defRPr>
            </a:lvl8pPr>
            <a:lvl9pPr marL="4114800" lvl="8" indent="-29845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66CD"/>
              </a:buClr>
              <a:buSzPts val="1100"/>
              <a:buChar char="•"/>
              <a:defRPr sz="1100">
                <a:solidFill>
                  <a:srgbClr val="0066CD"/>
                </a:solidFill>
              </a:defRPr>
            </a:lvl9pPr>
          </a:lstStyle>
          <a:p>
            <a:endParaRPr/>
          </a:p>
        </p:txBody>
      </p:sp>
      <p:sp>
        <p:nvSpPr>
          <p:cNvPr id="68" name="Google Shape;68;p9"/>
          <p:cNvSpPr txBox="1">
            <a:spLocks noGrp="1"/>
          </p:cNvSpPr>
          <p:nvPr>
            <p:ph type="title"/>
          </p:nvPr>
        </p:nvSpPr>
        <p:spPr>
          <a:xfrm>
            <a:off x="3768725" y="1467063"/>
            <a:ext cx="4307700" cy="6401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/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Work Sans SemiBold"/>
              <a:buNone/>
              <a:defRPr sz="3000">
                <a:solidFill>
                  <a:srgbClr val="0066CD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70" name="Google Shape;70;p9"/>
          <p:cNvSpPr txBox="1"/>
          <p:nvPr/>
        </p:nvSpPr>
        <p:spPr>
          <a:xfrm>
            <a:off x="8267914" y="391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fld id="{00000000-1234-1234-1234-123412341234}" type="slidenum">
              <a:rPr lang="es-CO" sz="700" b="0" i="0" u="none" strike="noStrike" cap="none">
                <a:solidFill>
                  <a:srgbClr val="0066CD"/>
                </a:solidFill>
                <a:latin typeface="Work Sans"/>
                <a:ea typeface="Work Sans"/>
                <a:cs typeface="Work Sans"/>
                <a:sym typeface="Work Sans"/>
              </a:rPr>
              <a:t>‹#›</a:t>
            </a:fld>
            <a:endParaRPr sz="700" b="0" i="0" u="none" strike="noStrike" cap="none">
              <a:solidFill>
                <a:srgbClr val="0066CD"/>
              </a:solidFill>
              <a:latin typeface="Work Sans"/>
              <a:ea typeface="Work Sans"/>
              <a:cs typeface="Work Sans"/>
              <a:sym typeface="Work Sans"/>
            </a:endParaRP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2FAB7457-61BC-0144-984D-ACFC03D1DFB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3618" y="287254"/>
            <a:ext cx="1118402" cy="319096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06C4BAFA-CF82-7743-AB31-DAA7A61A692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73789" y="4523448"/>
            <a:ext cx="1870211" cy="350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69326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n con título" type="picTx">
  <p:cSld name="Imagen con título">
    <p:bg>
      <p:bgPr>
        <a:solidFill>
          <a:srgbClr val="DCEAFB"/>
        </a:solidFill>
        <a:effectLst/>
      </p:bgPr>
    </p:bg>
    <p:spTree>
      <p:nvGrpSpPr>
        <p:cNvPr id="1" name="Shape 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Google Shape;72;p10"/>
          <p:cNvSpPr txBox="1">
            <a:spLocks noGrp="1"/>
          </p:cNvSpPr>
          <p:nvPr>
            <p:ph type="body" idx="1"/>
          </p:nvPr>
        </p:nvSpPr>
        <p:spPr>
          <a:xfrm>
            <a:off x="6336126" y="2114592"/>
            <a:ext cx="2352000" cy="204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L="457200" lvl="0" indent="-22860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SzPts val="1100"/>
              <a:buFont typeface="Work Sans Light"/>
              <a:buNone/>
              <a:defRPr sz="1000">
                <a:solidFill>
                  <a:srgbClr val="0066CD"/>
                </a:solidFill>
                <a:latin typeface="Work Sans"/>
                <a:ea typeface="Work Sans"/>
                <a:cs typeface="Work Sans"/>
                <a:sym typeface="Work Sans"/>
              </a:defRPr>
            </a:lvl1pPr>
            <a:lvl2pPr marL="914400" lvl="1" indent="-29845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100"/>
              <a:buFont typeface="Work Sans Light"/>
              <a:buChar char="•"/>
              <a:defRPr sz="1100">
                <a:latin typeface="Work Sans Light"/>
                <a:ea typeface="Work Sans Light"/>
                <a:cs typeface="Work Sans Light"/>
                <a:sym typeface="Work Sans Light"/>
              </a:defRPr>
            </a:lvl2pPr>
            <a:lvl3pPr marL="1371600" lvl="2" indent="-29845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100"/>
              <a:buFont typeface="Work Sans Light"/>
              <a:buChar char="•"/>
              <a:defRPr sz="1100">
                <a:latin typeface="Work Sans Light"/>
                <a:ea typeface="Work Sans Light"/>
                <a:cs typeface="Work Sans Light"/>
                <a:sym typeface="Work Sans Light"/>
              </a:defRPr>
            </a:lvl3pPr>
            <a:lvl4pPr marL="1828800" lvl="3" indent="-29845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100"/>
              <a:buFont typeface="Work Sans Light"/>
              <a:buChar char="•"/>
              <a:defRPr sz="1100">
                <a:latin typeface="Work Sans Light"/>
                <a:ea typeface="Work Sans Light"/>
                <a:cs typeface="Work Sans Light"/>
                <a:sym typeface="Work Sans Light"/>
              </a:defRPr>
            </a:lvl4pPr>
            <a:lvl5pPr marL="2286000" lvl="4" indent="-29845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100"/>
              <a:buFont typeface="Work Sans Light"/>
              <a:buChar char="•"/>
              <a:defRPr sz="1100">
                <a:latin typeface="Work Sans Light"/>
                <a:ea typeface="Work Sans Light"/>
                <a:cs typeface="Work Sans Light"/>
                <a:sym typeface="Work Sans Light"/>
              </a:defRPr>
            </a:lvl5pPr>
            <a:lvl6pPr marL="2743200" lvl="5" indent="-29845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100"/>
              <a:buFont typeface="Work Sans Light"/>
              <a:buChar char="•"/>
              <a:defRPr sz="1100">
                <a:latin typeface="Work Sans Light"/>
                <a:ea typeface="Work Sans Light"/>
                <a:cs typeface="Work Sans Light"/>
                <a:sym typeface="Work Sans Light"/>
              </a:defRPr>
            </a:lvl6pPr>
            <a:lvl7pPr marL="3200400" lvl="6" indent="-29845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100"/>
              <a:buFont typeface="Work Sans Light"/>
              <a:buChar char="•"/>
              <a:defRPr sz="1100">
                <a:latin typeface="Work Sans Light"/>
                <a:ea typeface="Work Sans Light"/>
                <a:cs typeface="Work Sans Light"/>
                <a:sym typeface="Work Sans Light"/>
              </a:defRPr>
            </a:lvl7pPr>
            <a:lvl8pPr marL="3657600" lvl="7" indent="-29845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100"/>
              <a:buFont typeface="Work Sans Light"/>
              <a:buChar char="•"/>
              <a:defRPr sz="1100">
                <a:latin typeface="Work Sans Light"/>
                <a:ea typeface="Work Sans Light"/>
                <a:cs typeface="Work Sans Light"/>
                <a:sym typeface="Work Sans Light"/>
              </a:defRPr>
            </a:lvl8pPr>
            <a:lvl9pPr marL="4114800" lvl="8" indent="-29845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100"/>
              <a:buFont typeface="Work Sans Light"/>
              <a:buChar char="•"/>
              <a:defRPr sz="1100">
                <a:latin typeface="Work Sans Light"/>
                <a:ea typeface="Work Sans Light"/>
                <a:cs typeface="Work Sans Light"/>
                <a:sym typeface="Work Sans Light"/>
              </a:defRPr>
            </a:lvl9pPr>
          </a:lstStyle>
          <a:p>
            <a:endParaRPr/>
          </a:p>
        </p:txBody>
      </p:sp>
      <p:sp>
        <p:nvSpPr>
          <p:cNvPr id="73" name="Google Shape;73;p10"/>
          <p:cNvSpPr>
            <a:spLocks noGrp="1"/>
          </p:cNvSpPr>
          <p:nvPr>
            <p:ph type="pic" idx="2"/>
          </p:nvPr>
        </p:nvSpPr>
        <p:spPr>
          <a:xfrm>
            <a:off x="-1" y="943597"/>
            <a:ext cx="5314401" cy="35576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R="0" lvl="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1pPr>
            <a:lvl2pPr marR="0" lvl="1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2pPr>
            <a:lvl3pPr marR="0" lvl="2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3pPr>
            <a:lvl4pPr marR="0" lvl="3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4pPr>
            <a:lvl5pPr marR="0" lvl="4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5pPr>
            <a:lvl6pPr marR="0" lvl="5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6pPr>
            <a:lvl7pPr marR="0" lvl="6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7pPr>
            <a:lvl8pPr marR="0" lvl="7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8pPr>
            <a:lvl9pPr marR="0" lvl="8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9pPr>
          </a:lstStyle>
          <a:p>
            <a:endParaRPr/>
          </a:p>
        </p:txBody>
      </p:sp>
      <p:sp>
        <p:nvSpPr>
          <p:cNvPr id="74" name="Google Shape;74;p10"/>
          <p:cNvSpPr txBox="1"/>
          <p:nvPr/>
        </p:nvSpPr>
        <p:spPr>
          <a:xfrm>
            <a:off x="8273320" y="6238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fld id="{00000000-1234-1234-1234-123412341234}" type="slidenum">
              <a:rPr lang="es-CO" sz="7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rPr>
              <a:t>‹#›</a:t>
            </a:fld>
            <a:endParaRPr sz="700" b="0" i="0" u="none" strike="noStrike" cap="none">
              <a:solidFill>
                <a:srgbClr val="0054BC"/>
              </a:solidFill>
              <a:latin typeface="Work Sans"/>
              <a:ea typeface="Work Sans"/>
              <a:cs typeface="Work Sans"/>
              <a:sym typeface="Work Sans"/>
            </a:endParaRPr>
          </a:p>
        </p:txBody>
      </p:sp>
      <p:sp>
        <p:nvSpPr>
          <p:cNvPr id="75" name="Google Shape;75;p10"/>
          <p:cNvSpPr txBox="1">
            <a:spLocks noGrp="1"/>
          </p:cNvSpPr>
          <p:nvPr>
            <p:ph type="title"/>
          </p:nvPr>
        </p:nvSpPr>
        <p:spPr>
          <a:xfrm>
            <a:off x="6336126" y="1302359"/>
            <a:ext cx="2351999" cy="643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/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Work Sans SemiBold"/>
              <a:buNone/>
              <a:defRPr sz="3000">
                <a:solidFill>
                  <a:srgbClr val="0066CD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2FAB7457-61BC-0144-984D-ACFC03D1DF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3618" y="287254"/>
            <a:ext cx="1118402" cy="319096"/>
          </a:xfrm>
          <a:prstGeom prst="rect">
            <a:avLst/>
          </a:prstGeom>
        </p:spPr>
      </p:pic>
      <p:pic>
        <p:nvPicPr>
          <p:cNvPr id="8" name="Imagen 7">
            <a:extLst>
              <a:ext uri="{FF2B5EF4-FFF2-40B4-BE49-F238E27FC236}">
                <a16:creationId xmlns:a16="http://schemas.microsoft.com/office/drawing/2014/main" id="{06C4BAFA-CF82-7743-AB31-DAA7A61A692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3789" y="4523448"/>
            <a:ext cx="1870211" cy="350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379403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 blanco" type="blank">
  <p:cSld name="En blanco">
    <p:bg>
      <p:bgPr>
        <a:solidFill>
          <a:srgbClr val="DCEAFB"/>
        </a:solidFill>
        <a:effectLst/>
      </p:bgPr>
    </p:bg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Google Shape;95;p14"/>
          <p:cNvSpPr txBox="1"/>
          <p:nvPr/>
        </p:nvSpPr>
        <p:spPr>
          <a:xfrm>
            <a:off x="8299683" y="0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fld id="{00000000-1234-1234-1234-123412341234}" type="slidenum">
              <a:rPr lang="es-CO" sz="700" b="0" i="0" u="none" strike="noStrike" cap="none">
                <a:solidFill>
                  <a:srgbClr val="0066CD"/>
                </a:solidFill>
                <a:latin typeface="Work Sans"/>
                <a:ea typeface="Work Sans"/>
                <a:cs typeface="Work Sans"/>
                <a:sym typeface="Work Sans"/>
              </a:rPr>
              <a:t>‹#›</a:t>
            </a:fld>
            <a:endParaRPr sz="700" b="0" i="0" u="none" strike="noStrike" cap="none">
              <a:solidFill>
                <a:srgbClr val="0066CD"/>
              </a:solidFill>
              <a:latin typeface="Work Sans"/>
              <a:ea typeface="Work Sans"/>
              <a:cs typeface="Work Sans"/>
              <a:sym typeface="Work Sans"/>
            </a:endParaRP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2FAB7457-61BC-0144-984D-ACFC03D1DFB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3618" y="287254"/>
            <a:ext cx="1118402" cy="319096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06C4BAFA-CF82-7743-AB31-DAA7A61A692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73789" y="4523448"/>
            <a:ext cx="1870211" cy="350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12962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ita o destacado">
  <p:cSld name="Cita o destacado">
    <p:bg>
      <p:bgPr>
        <a:solidFill>
          <a:srgbClr val="DCEBFB"/>
        </a:solidFill>
        <a:effectLst/>
      </p:bgPr>
    </p:bg>
    <p:spTree>
      <p:nvGrpSpPr>
        <p:cNvPr id="1" name="Shape 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Google Shape;83;p12"/>
          <p:cNvSpPr txBox="1">
            <a:spLocks noGrp="1"/>
          </p:cNvSpPr>
          <p:nvPr>
            <p:ph type="title"/>
          </p:nvPr>
        </p:nvSpPr>
        <p:spPr>
          <a:xfrm>
            <a:off x="3863877" y="893976"/>
            <a:ext cx="4025100" cy="367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/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500"/>
              <a:buFont typeface="Work Sans SemiBold"/>
              <a:buNone/>
              <a:defRPr sz="3500">
                <a:solidFill>
                  <a:srgbClr val="0054BC"/>
                </a:solidFill>
                <a:latin typeface="Work Sans SemiBold"/>
                <a:ea typeface="Work Sans SemiBold"/>
                <a:cs typeface="Work Sans SemiBold"/>
                <a:sym typeface="Work Sans SemiBold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84" name="Google Shape;84;p12"/>
          <p:cNvSpPr txBox="1"/>
          <p:nvPr/>
        </p:nvSpPr>
        <p:spPr>
          <a:xfrm>
            <a:off x="8273320" y="1088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fld id="{00000000-1234-1234-1234-123412341234}" type="slidenum">
              <a:rPr lang="es-CO" sz="7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rPr>
              <a:t>‹#›</a:t>
            </a:fld>
            <a:endParaRPr sz="700" b="0" i="0" u="none" strike="noStrike" cap="none">
              <a:solidFill>
                <a:srgbClr val="0054BC"/>
              </a:solidFill>
              <a:latin typeface="Work Sans"/>
              <a:ea typeface="Work Sans"/>
              <a:cs typeface="Work Sans"/>
              <a:sym typeface="Work Sans"/>
            </a:endParaRP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2FAB7457-61BC-0144-984D-ACFC03D1DF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3618" y="287254"/>
            <a:ext cx="1118402" cy="319096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06C4BAFA-CF82-7743-AB31-DAA7A61A692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3789" y="4523448"/>
            <a:ext cx="1870211" cy="350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55135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os objetos" type="twoObj">
  <p:cSld name="Dos objetos">
    <p:bg>
      <p:bgPr>
        <a:solidFill>
          <a:srgbClr val="DCEAFB"/>
        </a:solidFill>
        <a:effectLst/>
      </p:bgPr>
    </p:bg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13"/>
          <p:cNvSpPr txBox="1">
            <a:spLocks noGrp="1"/>
          </p:cNvSpPr>
          <p:nvPr>
            <p:ph type="body" idx="1"/>
          </p:nvPr>
        </p:nvSpPr>
        <p:spPr>
          <a:xfrm>
            <a:off x="6336125" y="2045272"/>
            <a:ext cx="2352000" cy="204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L="457200" lvl="0" indent="-29845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54BC"/>
              </a:buClr>
              <a:buSzPts val="1100"/>
              <a:buFont typeface="Work Sans Light"/>
              <a:buChar char="•"/>
              <a:defRPr sz="1100">
                <a:solidFill>
                  <a:srgbClr val="0054BC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1pPr>
            <a:lvl2pPr marL="914400" lvl="1" indent="-29845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100"/>
              <a:buFont typeface="Work Sans Light"/>
              <a:buChar char="•"/>
              <a:defRPr sz="1100">
                <a:solidFill>
                  <a:srgbClr val="0054BC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2pPr>
            <a:lvl3pPr marL="1371600" lvl="2" indent="-29845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100"/>
              <a:buFont typeface="Work Sans Light"/>
              <a:buChar char="•"/>
              <a:defRPr sz="1100">
                <a:solidFill>
                  <a:srgbClr val="0054BC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3pPr>
            <a:lvl4pPr marL="1828800" lvl="3" indent="-29845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100"/>
              <a:buFont typeface="Work Sans Light"/>
              <a:buChar char="•"/>
              <a:defRPr sz="1100">
                <a:solidFill>
                  <a:srgbClr val="0054BC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4pPr>
            <a:lvl5pPr marL="2286000" lvl="4" indent="-29845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100"/>
              <a:buFont typeface="Work Sans Light"/>
              <a:buChar char="•"/>
              <a:defRPr sz="1100">
                <a:solidFill>
                  <a:srgbClr val="0054BC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5pPr>
            <a:lvl6pPr marL="2743200" lvl="5" indent="-29845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100"/>
              <a:buFont typeface="Work Sans Light"/>
              <a:buChar char="•"/>
              <a:defRPr sz="1100">
                <a:solidFill>
                  <a:srgbClr val="0054BC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6pPr>
            <a:lvl7pPr marL="3200400" lvl="6" indent="-29845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100"/>
              <a:buFont typeface="Work Sans Light"/>
              <a:buChar char="•"/>
              <a:defRPr sz="1100">
                <a:solidFill>
                  <a:srgbClr val="0054BC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7pPr>
            <a:lvl8pPr marL="3657600" lvl="7" indent="-29845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100"/>
              <a:buFont typeface="Work Sans Light"/>
              <a:buChar char="•"/>
              <a:defRPr sz="1100">
                <a:solidFill>
                  <a:srgbClr val="0054BC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8pPr>
            <a:lvl9pPr marL="4114800" lvl="8" indent="-29845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100"/>
              <a:buFont typeface="Work Sans Light"/>
              <a:buChar char="•"/>
              <a:defRPr sz="1100">
                <a:solidFill>
                  <a:srgbClr val="0054BC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9pPr>
          </a:lstStyle>
          <a:p>
            <a:endParaRPr/>
          </a:p>
        </p:txBody>
      </p:sp>
      <p:sp>
        <p:nvSpPr>
          <p:cNvPr id="88" name="Google Shape;88;p13"/>
          <p:cNvSpPr txBox="1">
            <a:spLocks noGrp="1"/>
          </p:cNvSpPr>
          <p:nvPr>
            <p:ph type="body" idx="2"/>
          </p:nvPr>
        </p:nvSpPr>
        <p:spPr>
          <a:xfrm>
            <a:off x="3768725" y="2045272"/>
            <a:ext cx="2352000" cy="204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L="457200" lvl="0" indent="-298450" algn="l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54BC"/>
              </a:buClr>
              <a:buSzPts val="1100"/>
              <a:buFont typeface="Work Sans Light"/>
              <a:buChar char="•"/>
              <a:defRPr sz="1100">
                <a:solidFill>
                  <a:srgbClr val="0054BC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1pPr>
            <a:lvl2pPr marL="914400" lvl="1" indent="-29845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100"/>
              <a:buFont typeface="Work Sans Light"/>
              <a:buChar char="•"/>
              <a:defRPr sz="1100">
                <a:solidFill>
                  <a:srgbClr val="0054BC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2pPr>
            <a:lvl3pPr marL="1371600" lvl="2" indent="-29845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100"/>
              <a:buFont typeface="Work Sans Light"/>
              <a:buChar char="•"/>
              <a:defRPr sz="1100">
                <a:solidFill>
                  <a:srgbClr val="0054BC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3pPr>
            <a:lvl4pPr marL="1828800" lvl="3" indent="-29845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100"/>
              <a:buFont typeface="Work Sans Light"/>
              <a:buChar char="•"/>
              <a:defRPr sz="1100">
                <a:solidFill>
                  <a:srgbClr val="0054BC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4pPr>
            <a:lvl5pPr marL="2286000" lvl="4" indent="-29845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100"/>
              <a:buFont typeface="Work Sans Light"/>
              <a:buChar char="•"/>
              <a:defRPr sz="1100">
                <a:solidFill>
                  <a:srgbClr val="0054BC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5pPr>
            <a:lvl6pPr marL="2743200" lvl="5" indent="-29845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100"/>
              <a:buFont typeface="Work Sans Light"/>
              <a:buChar char="•"/>
              <a:defRPr sz="1100">
                <a:solidFill>
                  <a:srgbClr val="0054BC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6pPr>
            <a:lvl7pPr marL="3200400" lvl="6" indent="-29845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100"/>
              <a:buFont typeface="Work Sans Light"/>
              <a:buChar char="•"/>
              <a:defRPr sz="1100">
                <a:solidFill>
                  <a:srgbClr val="0054BC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7pPr>
            <a:lvl8pPr marL="3657600" lvl="7" indent="-29845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100"/>
              <a:buFont typeface="Work Sans Light"/>
              <a:buChar char="•"/>
              <a:defRPr sz="1100">
                <a:solidFill>
                  <a:srgbClr val="0054BC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8pPr>
            <a:lvl9pPr marL="4114800" lvl="8" indent="-29845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100"/>
              <a:buFont typeface="Work Sans Light"/>
              <a:buChar char="•"/>
              <a:defRPr sz="1100">
                <a:solidFill>
                  <a:srgbClr val="0054BC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9pPr>
          </a:lstStyle>
          <a:p>
            <a:endParaRPr/>
          </a:p>
        </p:txBody>
      </p:sp>
      <p:sp>
        <p:nvSpPr>
          <p:cNvPr id="89" name="Google Shape;89;p13"/>
          <p:cNvSpPr txBox="1">
            <a:spLocks noGrp="1"/>
          </p:cNvSpPr>
          <p:nvPr>
            <p:ph type="title"/>
          </p:nvPr>
        </p:nvSpPr>
        <p:spPr>
          <a:xfrm>
            <a:off x="3768725" y="1224947"/>
            <a:ext cx="4307700" cy="643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/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54BC"/>
              </a:buClr>
              <a:buSzPts val="3000"/>
              <a:buFont typeface="Work Sans Light"/>
              <a:buNone/>
              <a:defRPr sz="3000">
                <a:solidFill>
                  <a:srgbClr val="0054BC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54BC"/>
              </a:buClr>
              <a:buSzPts val="1100"/>
              <a:buNone/>
              <a:defRPr>
                <a:solidFill>
                  <a:srgbClr val="0054BC"/>
                </a:solidFill>
              </a:defRPr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54BC"/>
              </a:buClr>
              <a:buSzPts val="1100"/>
              <a:buNone/>
              <a:defRPr>
                <a:solidFill>
                  <a:srgbClr val="0054BC"/>
                </a:solidFill>
              </a:defRPr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54BC"/>
              </a:buClr>
              <a:buSzPts val="1100"/>
              <a:buNone/>
              <a:defRPr>
                <a:solidFill>
                  <a:srgbClr val="0054BC"/>
                </a:solidFill>
              </a:defRPr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54BC"/>
              </a:buClr>
              <a:buSzPts val="1100"/>
              <a:buNone/>
              <a:defRPr>
                <a:solidFill>
                  <a:srgbClr val="0054BC"/>
                </a:solidFill>
              </a:defRPr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54BC"/>
              </a:buClr>
              <a:buSzPts val="1100"/>
              <a:buNone/>
              <a:defRPr>
                <a:solidFill>
                  <a:srgbClr val="0054BC"/>
                </a:solidFill>
              </a:defRPr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54BC"/>
              </a:buClr>
              <a:buSzPts val="1100"/>
              <a:buNone/>
              <a:defRPr>
                <a:solidFill>
                  <a:srgbClr val="0054BC"/>
                </a:solidFill>
              </a:defRPr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54BC"/>
              </a:buClr>
              <a:buSzPts val="1100"/>
              <a:buNone/>
              <a:defRPr>
                <a:solidFill>
                  <a:srgbClr val="0054BC"/>
                </a:solidFill>
              </a:defRPr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54BC"/>
              </a:buClr>
              <a:buSzPts val="1100"/>
              <a:buNone/>
              <a:defRPr>
                <a:solidFill>
                  <a:srgbClr val="0054BC"/>
                </a:solidFill>
              </a:defRPr>
            </a:lvl9pPr>
          </a:lstStyle>
          <a:p>
            <a:endParaRPr/>
          </a:p>
        </p:txBody>
      </p:sp>
      <p:sp>
        <p:nvSpPr>
          <p:cNvPr id="91" name="Google Shape;91;p13"/>
          <p:cNvSpPr txBox="1"/>
          <p:nvPr/>
        </p:nvSpPr>
        <p:spPr>
          <a:xfrm>
            <a:off x="8273320" y="2192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fld id="{00000000-1234-1234-1234-123412341234}" type="slidenum">
              <a:rPr lang="es-CO" sz="700" b="0" i="0" u="none" strike="noStrike" cap="none">
                <a:solidFill>
                  <a:srgbClr val="0066CD"/>
                </a:solidFill>
                <a:latin typeface="Work Sans"/>
                <a:ea typeface="Work Sans"/>
                <a:cs typeface="Work Sans"/>
                <a:sym typeface="Work Sans"/>
              </a:rPr>
              <a:t>‹#›</a:t>
            </a:fld>
            <a:endParaRPr sz="700" b="0" i="0" u="none" strike="noStrike" cap="none">
              <a:solidFill>
                <a:srgbClr val="0066CD"/>
              </a:solidFill>
              <a:latin typeface="Work Sans"/>
              <a:ea typeface="Work Sans"/>
              <a:cs typeface="Work Sans"/>
              <a:sym typeface="Work Sans"/>
            </a:endParaRP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2FAB7457-61BC-0144-984D-ACFC03D1DF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3618" y="287254"/>
            <a:ext cx="1118402" cy="319096"/>
          </a:xfrm>
          <a:prstGeom prst="rect">
            <a:avLst/>
          </a:prstGeom>
        </p:spPr>
      </p:pic>
      <p:pic>
        <p:nvPicPr>
          <p:cNvPr id="8" name="Imagen 7">
            <a:extLst>
              <a:ext uri="{FF2B5EF4-FFF2-40B4-BE49-F238E27FC236}">
                <a16:creationId xmlns:a16="http://schemas.microsoft.com/office/drawing/2014/main" id="{06C4BAFA-CF82-7743-AB31-DAA7A61A692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3789" y="4523448"/>
            <a:ext cx="1870211" cy="350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27583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628650" y="273844"/>
            <a:ext cx="7886700" cy="99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54BC"/>
              </a:buClr>
              <a:buSzPts val="3300"/>
              <a:buFont typeface="Work Sans"/>
              <a:buNone/>
              <a:defRPr sz="33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628650" y="1369219"/>
            <a:ext cx="7886700" cy="326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L="457200" marR="0" lvl="0" indent="-36195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54BC"/>
              </a:buClr>
              <a:buSzPts val="2100"/>
              <a:buFont typeface="Arial"/>
              <a:buChar char="•"/>
              <a:defRPr sz="21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2pPr>
            <a:lvl3pPr marL="1371600" marR="0" lvl="2" indent="-3238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3pPr>
            <a:lvl4pPr marL="1828800" marR="0" lvl="3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4pPr>
            <a:lvl5pPr marL="2286000" marR="0" lvl="4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5pPr>
            <a:lvl6pPr marL="2743200" marR="0" lvl="5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6pPr>
            <a:lvl7pPr marL="3200400" marR="0" lvl="6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7pPr>
            <a:lvl8pPr marL="3657600" marR="0" lvl="7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8pPr>
            <a:lvl9pPr marL="4114800" marR="0" lvl="8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900" b="0" i="0" u="none" strike="noStrike" cap="none">
                <a:solidFill>
                  <a:srgbClr val="888E9D"/>
                </a:solidFill>
                <a:latin typeface="Work Sans"/>
                <a:ea typeface="Work Sans"/>
                <a:cs typeface="Work Sans"/>
                <a:sym typeface="Work Sans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9pPr>
          </a:lstStyle>
          <a:p>
            <a:endParaRPr/>
          </a:p>
        </p:txBody>
      </p:sp>
      <p:sp>
        <p:nvSpPr>
          <p:cNvPr id="9" name="Google Shape;9;p1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900" b="0" i="0" u="none" strike="noStrike" cap="none">
                <a:solidFill>
                  <a:srgbClr val="888E9D"/>
                </a:solidFill>
                <a:latin typeface="Work Sans"/>
                <a:ea typeface="Work Sans"/>
                <a:cs typeface="Work Sans"/>
                <a:sym typeface="Work Sans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9pPr>
          </a:lstStyle>
          <a:p>
            <a:endParaRPr/>
          </a:p>
        </p:txBody>
      </p:sp>
      <p:sp>
        <p:nvSpPr>
          <p:cNvPr id="10" name="Google Shape;10;p1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E9D"/>
                </a:solidFill>
                <a:latin typeface="Work Sans"/>
                <a:ea typeface="Work Sans"/>
                <a:cs typeface="Work Sans"/>
                <a:sym typeface="Work Sans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E9D"/>
                </a:solidFill>
                <a:latin typeface="Work Sans"/>
                <a:ea typeface="Work Sans"/>
                <a:cs typeface="Work Sans"/>
                <a:sym typeface="Work Sans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E9D"/>
                </a:solidFill>
                <a:latin typeface="Work Sans"/>
                <a:ea typeface="Work Sans"/>
                <a:cs typeface="Work Sans"/>
                <a:sym typeface="Work Sans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E9D"/>
                </a:solidFill>
                <a:latin typeface="Work Sans"/>
                <a:ea typeface="Work Sans"/>
                <a:cs typeface="Work Sans"/>
                <a:sym typeface="Work Sans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E9D"/>
                </a:solidFill>
                <a:latin typeface="Work Sans"/>
                <a:ea typeface="Work Sans"/>
                <a:cs typeface="Work Sans"/>
                <a:sym typeface="Work Sans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E9D"/>
                </a:solidFill>
                <a:latin typeface="Work Sans"/>
                <a:ea typeface="Work Sans"/>
                <a:cs typeface="Work Sans"/>
                <a:sym typeface="Work Sans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E9D"/>
                </a:solidFill>
                <a:latin typeface="Work Sans"/>
                <a:ea typeface="Work Sans"/>
                <a:cs typeface="Work Sans"/>
                <a:sym typeface="Work Sans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E9D"/>
                </a:solidFill>
                <a:latin typeface="Work Sans"/>
                <a:ea typeface="Work Sans"/>
                <a:cs typeface="Work Sans"/>
                <a:sym typeface="Work Sans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E9D"/>
                </a:solidFill>
                <a:latin typeface="Work Sans"/>
                <a:ea typeface="Work Sans"/>
                <a:cs typeface="Work Sans"/>
                <a:sym typeface="Work Sans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CO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63" r:id="rId1"/>
    <p:sldLayoutId id="2147483672" r:id="rId2"/>
    <p:sldLayoutId id="2147483666" r:id="rId3"/>
    <p:sldLayoutId id="2147483702" r:id="rId4"/>
    <p:sldLayoutId id="2147483703" r:id="rId5"/>
    <p:sldLayoutId id="2147483706" r:id="rId6"/>
    <p:sldLayoutId id="2147483712" r:id="rId7"/>
    <p:sldLayoutId id="2147483714" r:id="rId8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.xml"/><Relationship Id="rId4" Type="http://schemas.openxmlformats.org/officeDocument/2006/relationships/hyperlink" Target="https://xd.adobe.com/view/fc455f1f-7481-4a4f-a3f8-4a2de32988a5-a916/" TargetMode="External"/></Relationships>
</file>

<file path=ppt/slides/_rels/slide1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1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1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hyperlink" Target="http://elviejoclub.blogspot.com/2008/10/objetivo-marte.html" TargetMode="External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9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6C9E0C39-8742-B14F-9B09-71798CFEC52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97436" y="2053552"/>
            <a:ext cx="6169446" cy="1322429"/>
          </a:xfrm>
        </p:spPr>
        <p:txBody>
          <a:bodyPr/>
          <a:lstStyle/>
          <a:p>
            <a:r>
              <a:rPr lang="es-CO" b="1">
                <a:solidFill>
                  <a:srgbClr val="002060"/>
                </a:solidFill>
              </a:rPr>
              <a:t>PROYECTO </a:t>
            </a:r>
          </a:p>
          <a:p>
            <a:r>
              <a:rPr lang="es-CO" sz="3600" b="1" u="sng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rlin Sans FB Demi"/>
              </a:rPr>
              <a:t>B</a:t>
            </a:r>
            <a:r>
              <a:rPr lang="es-CO" b="1" u="sng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rlin Sans FB Demi"/>
              </a:rPr>
              <a:t>ANCO DE </a:t>
            </a:r>
            <a:r>
              <a:rPr lang="es-CO" sz="3600" b="1" u="sng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rlin Sans FB Demi"/>
              </a:rPr>
              <a:t>E</a:t>
            </a:r>
            <a:r>
              <a:rPr lang="es-CO" b="1" u="sng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rlin Sans FB Demi"/>
              </a:rPr>
              <a:t>XPERIENCIAS  </a:t>
            </a:r>
            <a:r>
              <a:rPr lang="es-CO" sz="4000" b="1" u="sng">
                <a:solidFill>
                  <a:srgbClr val="FF6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rlin Sans FB Demi"/>
              </a:rPr>
              <a:t>ANI</a:t>
            </a:r>
            <a:endParaRPr lang="es-CO" b="1" u="sng">
              <a:solidFill>
                <a:srgbClr val="FF6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erlin Sans FB Demi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número de diapositiva 4"/>
          <p:cNvSpPr>
            <a:spLocks noGrp="1"/>
          </p:cNvSpPr>
          <p:nvPr>
            <p:ph type="sldNum" sz="quarter" idx="4294967295"/>
          </p:nvPr>
        </p:nvSpPr>
        <p:spPr>
          <a:xfrm>
            <a:off x="7086600" y="4767263"/>
            <a:ext cx="2057400" cy="274637"/>
          </a:xfrm>
        </p:spPr>
        <p:txBody>
          <a:bodyPr/>
          <a:lstStyle/>
          <a:p>
            <a:fld id="{BC3898F0-28E6-4BE7-B955-1F8B7A1516EC}" type="slidenum">
              <a:rPr lang="es-ES" smtClean="0"/>
              <a:t>10</a:t>
            </a:fld>
            <a:endParaRPr lang="es-ES"/>
          </a:p>
        </p:txBody>
      </p:sp>
      <p:sp>
        <p:nvSpPr>
          <p:cNvPr id="57" name="Rectangle 8">
            <a:extLst>
              <a:ext uri="{FF2B5EF4-FFF2-40B4-BE49-F238E27FC236}">
                <a16:creationId xmlns:a16="http://schemas.microsoft.com/office/drawing/2014/main" id="{B7B7F925-FFE0-460A-AB12-14DB51FD5384}"/>
              </a:ext>
            </a:extLst>
          </p:cNvPr>
          <p:cNvSpPr>
            <a:spLocks noGrp="1"/>
          </p:cNvSpPr>
          <p:nvPr>
            <p:ph type="title" idx="4294967295"/>
            <p:custDataLst>
              <p:tags r:id="rId1"/>
            </p:custDataLst>
          </p:nvPr>
        </p:nvSpPr>
        <p:spPr>
          <a:xfrm>
            <a:off x="394150" y="386670"/>
            <a:ext cx="7863840" cy="392113"/>
          </a:xfrm>
        </p:spPr>
        <p:txBody>
          <a:bodyPr/>
          <a:lstStyle/>
          <a:p>
            <a:r>
              <a:rPr lang="en-US" sz="2800" b="1" err="1">
                <a:solidFill>
                  <a:srgbClr val="002060"/>
                </a:solidFill>
                <a:latin typeface="Berlin Sans FB Demi" panose="020E0802020502020306" pitchFamily="34" charset="0"/>
                <a:sym typeface="Museo Sans 500"/>
              </a:rPr>
              <a:t>Fases</a:t>
            </a:r>
            <a:r>
              <a:rPr lang="en-US" sz="2800" b="1">
                <a:solidFill>
                  <a:srgbClr val="002060"/>
                </a:solidFill>
                <a:latin typeface="Berlin Sans FB Demi" panose="020E0802020502020306" pitchFamily="34" charset="0"/>
                <a:sym typeface="Museo Sans 500"/>
              </a:rPr>
              <a:t> del Proyecto</a:t>
            </a:r>
            <a:endParaRPr lang="es-ES_tradnl" sz="2800" b="1">
              <a:solidFill>
                <a:srgbClr val="002060"/>
              </a:solidFill>
              <a:latin typeface="Berlin Sans FB Demi" panose="020E0802020502020306" pitchFamily="34" charset="0"/>
              <a:sym typeface="Museo Sans 500"/>
            </a:endParaRPr>
          </a:p>
        </p:txBody>
      </p:sp>
      <p:graphicFrame>
        <p:nvGraphicFramePr>
          <p:cNvPr id="6" name="Diagrama 5">
            <a:extLst>
              <a:ext uri="{FF2B5EF4-FFF2-40B4-BE49-F238E27FC236}">
                <a16:creationId xmlns:a16="http://schemas.microsoft.com/office/drawing/2014/main" id="{DDF03D46-3753-4599-A281-2320330906E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83266195"/>
              </p:ext>
            </p:extLst>
          </p:nvPr>
        </p:nvGraphicFramePr>
        <p:xfrm>
          <a:off x="555893" y="793522"/>
          <a:ext cx="8032214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8" name="CuadroTexto 7">
            <a:extLst>
              <a:ext uri="{FF2B5EF4-FFF2-40B4-BE49-F238E27FC236}">
                <a16:creationId xmlns:a16="http://schemas.microsoft.com/office/drawing/2014/main" id="{74E48634-BD50-4E98-8BB1-86BE5CF4582E}"/>
              </a:ext>
            </a:extLst>
          </p:cNvPr>
          <p:cNvSpPr txBox="1"/>
          <p:nvPr/>
        </p:nvSpPr>
        <p:spPr>
          <a:xfrm>
            <a:off x="14131" y="0"/>
            <a:ext cx="4572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O" sz="1600" b="1" i="1" u="sng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rlin Sans FB Demi" panose="020E0802020502020306" pitchFamily="34" charset="0"/>
              </a:rPr>
              <a:t>B</a:t>
            </a:r>
            <a:r>
              <a:rPr lang="es-CO" sz="1200" b="1" i="1" u="sng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rlin Sans FB Demi" panose="020E0802020502020306" pitchFamily="34" charset="0"/>
              </a:rPr>
              <a:t>ANCO DE </a:t>
            </a:r>
            <a:r>
              <a:rPr lang="es-CO" sz="1800" b="1" i="1" u="sng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rlin Sans FB Demi" panose="020E0802020502020306" pitchFamily="34" charset="0"/>
              </a:rPr>
              <a:t>E</a:t>
            </a:r>
            <a:r>
              <a:rPr lang="es-CO" sz="1200" b="1" i="1" u="sng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rlin Sans FB Demi" panose="020E0802020502020306" pitchFamily="34" charset="0"/>
              </a:rPr>
              <a:t>XPERIENCIAS </a:t>
            </a:r>
            <a:r>
              <a:rPr lang="es-CO" sz="1600" b="1" i="1" u="sng">
                <a:solidFill>
                  <a:srgbClr val="FF993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rlin Sans FB Demi" panose="020E0802020502020306" pitchFamily="34" charset="0"/>
              </a:rPr>
              <a:t>ANI</a:t>
            </a:r>
            <a:endParaRPr lang="es-CO" sz="1200" b="1" i="1" u="sng">
              <a:solidFill>
                <a:srgbClr val="FF993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erlin Sans FB Demi" panose="020E0802020502020306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784035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>
        <p:fade/>
      </p:transition>
    </mc:Choice>
    <mc:Fallback>
      <p:transition spd="med" advClick="0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tángulo 1"/>
          <p:cNvSpPr/>
          <p:nvPr/>
        </p:nvSpPr>
        <p:spPr>
          <a:xfrm>
            <a:off x="305526" y="1325738"/>
            <a:ext cx="4798372" cy="2077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marL="685783" lvl="1" indent="-342892">
              <a:buClr>
                <a:srgbClr val="FFC000"/>
              </a:buClr>
            </a:pPr>
            <a:endParaRPr lang="en-US" sz="900">
              <a:solidFill>
                <a:srgbClr val="366092">
                  <a:lumMod val="40000"/>
                  <a:lumOff val="60000"/>
                </a:srgbClr>
              </a:solidFill>
            </a:endParaRPr>
          </a:p>
        </p:txBody>
      </p:sp>
      <p:sp>
        <p:nvSpPr>
          <p:cNvPr id="2" name="Marcador de número de diapositiva 1"/>
          <p:cNvSpPr>
            <a:spLocks noGrp="1"/>
          </p:cNvSpPr>
          <p:nvPr>
            <p:ph type="sldNum" sz="quarter" idx="4294967295"/>
          </p:nvPr>
        </p:nvSpPr>
        <p:spPr>
          <a:xfrm>
            <a:off x="7086600" y="4767263"/>
            <a:ext cx="2057400" cy="274637"/>
          </a:xfrm>
        </p:spPr>
        <p:txBody>
          <a:bodyPr/>
          <a:lstStyle/>
          <a:p>
            <a:fld id="{319F1D00-0F7D-401C-A034-981AFB6B8ED9}" type="slidenum">
              <a:rPr lang="es-CO" b="1">
                <a:solidFill>
                  <a:srgbClr val="386295"/>
                </a:solidFill>
              </a:rPr>
              <a:pPr/>
              <a:t>11</a:t>
            </a:fld>
            <a:endParaRPr lang="es-CO" b="1">
              <a:solidFill>
                <a:srgbClr val="386295"/>
              </a:solidFill>
            </a:endParaRPr>
          </a:p>
        </p:txBody>
      </p:sp>
      <p:sp>
        <p:nvSpPr>
          <p:cNvPr id="12" name="Marcador de texto 2">
            <a:extLst>
              <a:ext uri="{FF2B5EF4-FFF2-40B4-BE49-F238E27FC236}">
                <a16:creationId xmlns:a16="http://schemas.microsoft.com/office/drawing/2014/main" id="{26D95A0E-49BA-9846-A9FA-381E19E27927}"/>
              </a:ext>
            </a:extLst>
          </p:cNvPr>
          <p:cNvSpPr txBox="1">
            <a:spLocks/>
          </p:cNvSpPr>
          <p:nvPr/>
        </p:nvSpPr>
        <p:spPr>
          <a:xfrm>
            <a:off x="14131" y="511337"/>
            <a:ext cx="3261078" cy="6723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61950" algn="just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54BC"/>
              </a:buClr>
              <a:buSzPts val="2100"/>
              <a:buFont typeface="Arial"/>
              <a:buChar char="•"/>
              <a:defRPr sz="1200" b="1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1pPr>
            <a:lvl2pPr marL="914400" marR="0" lvl="1" indent="-342900" algn="just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800"/>
              <a:buFont typeface="Arial"/>
              <a:buChar char="•"/>
              <a:defRPr sz="12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2pPr>
            <a:lvl3pPr marL="1371600" marR="0" lvl="2" indent="-323850" algn="just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500"/>
              <a:buFont typeface="Arial"/>
              <a:buChar char="•"/>
              <a:defRPr sz="12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3pPr>
            <a:lvl4pPr marL="1828800" marR="0" lvl="3" indent="-317500" algn="just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400"/>
              <a:buFont typeface="Arial"/>
              <a:buChar char="•"/>
              <a:defRPr sz="12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4pPr>
            <a:lvl5pPr marL="2286000" marR="0" lvl="4" indent="-317500" algn="just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400"/>
              <a:buFont typeface="Arial"/>
              <a:buChar char="•"/>
              <a:defRPr sz="12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5pPr>
            <a:lvl6pPr marL="2743200" marR="0" lvl="5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6pPr>
            <a:lvl7pPr marL="3200400" marR="0" lvl="6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7pPr>
            <a:lvl8pPr marL="3657600" marR="0" lvl="7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8pPr>
            <a:lvl9pPr marL="4114800" marR="0" lvl="8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9pPr>
          </a:lstStyle>
          <a:p>
            <a:pPr marL="228600" indent="0" algn="ctr">
              <a:buNone/>
            </a:pPr>
            <a:r>
              <a:rPr lang="es-CO" sz="3000">
                <a:solidFill>
                  <a:schemeClr val="accent6">
                    <a:lumMod val="75000"/>
                  </a:schemeClr>
                </a:solidFill>
                <a:latin typeface="Berlin Sans FB Demi" panose="020E0802020502020306" pitchFamily="34" charset="0"/>
                <a:cs typeface="Arial"/>
                <a:sym typeface="Helvetica Neue Bold Condensed"/>
              </a:rPr>
              <a:t>Procedimiento</a:t>
            </a:r>
            <a:endParaRPr lang="es-ES" sz="3000">
              <a:solidFill>
                <a:schemeClr val="accent6">
                  <a:lumMod val="75000"/>
                </a:schemeClr>
              </a:solidFill>
              <a:latin typeface="Berlin Sans FB Demi" panose="020E0802020502020306" pitchFamily="34" charset="0"/>
              <a:cs typeface="Arial"/>
              <a:sym typeface="Helvetica Neue Bold Condensed"/>
            </a:endParaRP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CA643D49-653D-48BB-9A1B-A71CE6212B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41221" y="345067"/>
            <a:ext cx="2470596" cy="4559514"/>
          </a:xfrm>
          <a:prstGeom prst="rect">
            <a:avLst/>
          </a:prstGeom>
          <a:noFill/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28BD797D-BEBA-47F5-B0A6-D6FD05859598}"/>
              </a:ext>
            </a:extLst>
          </p:cNvPr>
          <p:cNvSpPr txBox="1"/>
          <p:nvPr/>
        </p:nvSpPr>
        <p:spPr>
          <a:xfrm>
            <a:off x="14131" y="0"/>
            <a:ext cx="4572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O" sz="1600" b="1" i="1" u="sng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rlin Sans FB Demi" panose="020E0802020502020306" pitchFamily="34" charset="0"/>
              </a:rPr>
              <a:t>B</a:t>
            </a:r>
            <a:r>
              <a:rPr lang="es-CO" sz="1200" b="1" i="1" u="sng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rlin Sans FB Demi" panose="020E0802020502020306" pitchFamily="34" charset="0"/>
              </a:rPr>
              <a:t>ANCO DE </a:t>
            </a:r>
            <a:r>
              <a:rPr lang="es-CO" sz="1800" b="1" i="1" u="sng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rlin Sans FB Demi" panose="020E0802020502020306" pitchFamily="34" charset="0"/>
              </a:rPr>
              <a:t>E</a:t>
            </a:r>
            <a:r>
              <a:rPr lang="es-CO" sz="1200" b="1" i="1" u="sng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rlin Sans FB Demi" panose="020E0802020502020306" pitchFamily="34" charset="0"/>
              </a:rPr>
              <a:t>XPERIENCIAS </a:t>
            </a:r>
            <a:r>
              <a:rPr lang="es-CO" sz="1600" b="1" i="1" u="sng">
                <a:solidFill>
                  <a:srgbClr val="FF993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rlin Sans FB Demi" panose="020E0802020502020306" pitchFamily="34" charset="0"/>
              </a:rPr>
              <a:t>ANI</a:t>
            </a:r>
            <a:endParaRPr lang="es-CO" sz="1200" b="1" i="1" u="sng">
              <a:solidFill>
                <a:srgbClr val="FF993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erlin Sans FB Demi" panose="020E0802020502020306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789417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3250" advClick="0"/>
    </mc:Choice>
    <mc:Fallback>
      <p:transition spd="slow" advClick="0"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número de diapositiva 4"/>
          <p:cNvSpPr>
            <a:spLocks noGrp="1"/>
          </p:cNvSpPr>
          <p:nvPr>
            <p:ph type="sldNum" sz="quarter" idx="4294967295"/>
          </p:nvPr>
        </p:nvSpPr>
        <p:spPr>
          <a:xfrm>
            <a:off x="7086600" y="4767263"/>
            <a:ext cx="2057400" cy="274637"/>
          </a:xfrm>
        </p:spPr>
        <p:txBody>
          <a:bodyPr/>
          <a:lstStyle/>
          <a:p>
            <a:fld id="{BC3898F0-28E6-4BE7-B955-1F8B7A1516EC}" type="slidenum">
              <a:rPr lang="es-ES" smtClean="0"/>
              <a:t>12</a:t>
            </a:fld>
            <a:endParaRPr lang="es-ES"/>
          </a:p>
        </p:txBody>
      </p:sp>
      <p:sp>
        <p:nvSpPr>
          <p:cNvPr id="12" name="Rectangle 8">
            <a:extLst>
              <a:ext uri="{FF2B5EF4-FFF2-40B4-BE49-F238E27FC236}">
                <a16:creationId xmlns:a16="http://schemas.microsoft.com/office/drawing/2014/main" id="{AD76D1F5-08AA-4A05-81C6-D550C146201D}"/>
              </a:ext>
            </a:extLst>
          </p:cNvPr>
          <p:cNvSpPr>
            <a:spLocks noGrp="1"/>
          </p:cNvSpPr>
          <p:nvPr>
            <p:ph type="title" idx="4294967295"/>
            <p:custDataLst>
              <p:tags r:id="rId1"/>
            </p:custDataLst>
          </p:nvPr>
        </p:nvSpPr>
        <p:spPr>
          <a:xfrm>
            <a:off x="392286" y="733027"/>
            <a:ext cx="7181557" cy="392113"/>
          </a:xfrm>
        </p:spPr>
        <p:txBody>
          <a:bodyPr/>
          <a:lstStyle/>
          <a:p>
            <a:r>
              <a:rPr lang="en-US" sz="2800" b="1">
                <a:solidFill>
                  <a:schemeClr val="accent6">
                    <a:lumMod val="75000"/>
                  </a:schemeClr>
                </a:solidFill>
                <a:sym typeface="Museo Sans 500"/>
              </a:rPr>
              <a:t>ANISCOPIO</a:t>
            </a:r>
            <a:endParaRPr lang="es-ES_tradnl" sz="2800" b="1">
              <a:solidFill>
                <a:schemeClr val="accent6">
                  <a:lumMod val="75000"/>
                </a:schemeClr>
              </a:solidFill>
              <a:sym typeface="Museo Sans 500"/>
            </a:endParaRPr>
          </a:p>
        </p:txBody>
      </p:sp>
      <p:pic>
        <p:nvPicPr>
          <p:cNvPr id="7" name="Marcador de contenido 5">
            <a:extLst>
              <a:ext uri="{FF2B5EF4-FFF2-40B4-BE49-F238E27FC236}">
                <a16:creationId xmlns:a16="http://schemas.microsoft.com/office/drawing/2014/main" id="{48E60C1E-6125-4573-A765-EF40F9F4B72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7201" r="29549" b="1"/>
          <a:stretch/>
        </p:blipFill>
        <p:spPr>
          <a:xfrm>
            <a:off x="2576557" y="733027"/>
            <a:ext cx="4678363" cy="3677445"/>
          </a:xfrm>
          <a:custGeom>
            <a:avLst/>
            <a:gdLst/>
            <a:ahLst/>
            <a:cxnLst/>
            <a:rect l="l" t="t" r="r" b="b"/>
            <a:pathLst>
              <a:path w="5778000" h="5778000">
                <a:moveTo>
                  <a:pt x="2889000" y="0"/>
                </a:moveTo>
                <a:cubicBezTo>
                  <a:pt x="4484551" y="0"/>
                  <a:pt x="5778000" y="1293449"/>
                  <a:pt x="5778000" y="2889000"/>
                </a:cubicBezTo>
                <a:cubicBezTo>
                  <a:pt x="5778000" y="4484551"/>
                  <a:pt x="4484551" y="5778000"/>
                  <a:pt x="2889000" y="5778000"/>
                </a:cubicBezTo>
                <a:cubicBezTo>
                  <a:pt x="1293449" y="5778000"/>
                  <a:pt x="0" y="4484551"/>
                  <a:pt x="0" y="2889000"/>
                </a:cubicBezTo>
                <a:cubicBezTo>
                  <a:pt x="0" y="1293449"/>
                  <a:pt x="1293449" y="0"/>
                  <a:pt x="2889000" y="0"/>
                </a:cubicBezTo>
                <a:close/>
              </a:path>
            </a:pathLst>
          </a:custGeom>
          <a:noFill/>
          <a:ln>
            <a:noFill/>
          </a:ln>
        </p:spPr>
      </p:pic>
      <p:sp>
        <p:nvSpPr>
          <p:cNvPr id="8" name="CuadroTexto 7">
            <a:extLst>
              <a:ext uri="{FF2B5EF4-FFF2-40B4-BE49-F238E27FC236}">
                <a16:creationId xmlns:a16="http://schemas.microsoft.com/office/drawing/2014/main" id="{05170AE5-CEC4-4258-B5F3-6BCA6C1D3F5D}"/>
              </a:ext>
            </a:extLst>
          </p:cNvPr>
          <p:cNvSpPr txBox="1"/>
          <p:nvPr/>
        </p:nvSpPr>
        <p:spPr>
          <a:xfrm>
            <a:off x="513471" y="4566118"/>
            <a:ext cx="6096000" cy="47578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>
              <a:lnSpc>
                <a:spcPct val="150000"/>
              </a:lnSpc>
              <a:spcAft>
                <a:spcPts val="600"/>
              </a:spcAft>
            </a:pPr>
            <a:r>
              <a:rPr lang="en-US" sz="1200" u="sng" spc="50">
                <a:solidFill>
                  <a:schemeClr val="accent6">
                    <a:alpha val="60000"/>
                  </a:schemeClr>
                </a:solidFill>
                <a:effectLst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xd.adobe.com/view/fc455f1f-7481-4a4f-a3f8-4a2de32988a5-a916/</a:t>
            </a:r>
            <a:r>
              <a:rPr lang="en-US" sz="1200" spc="50">
                <a:solidFill>
                  <a:schemeClr val="accent6">
                    <a:alpha val="60000"/>
                  </a:schemeClr>
                </a:solidFill>
                <a:effectLst/>
              </a:rPr>
              <a:t> </a:t>
            </a:r>
            <a:endParaRPr lang="en-US" sz="1200" spc="50">
              <a:solidFill>
                <a:schemeClr val="accent6">
                  <a:alpha val="60000"/>
                </a:schemeClr>
              </a:solidFill>
            </a:endParaRP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1DC18C9A-9254-4E91-A77B-7BF8259BBCDF}"/>
              </a:ext>
            </a:extLst>
          </p:cNvPr>
          <p:cNvSpPr txBox="1"/>
          <p:nvPr/>
        </p:nvSpPr>
        <p:spPr>
          <a:xfrm>
            <a:off x="14131" y="0"/>
            <a:ext cx="4572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O" sz="1600" b="1" i="1" u="sng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rlin Sans FB Demi" panose="020E0802020502020306" pitchFamily="34" charset="0"/>
              </a:rPr>
              <a:t>B</a:t>
            </a:r>
            <a:r>
              <a:rPr lang="es-CO" sz="1200" b="1" i="1" u="sng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rlin Sans FB Demi" panose="020E0802020502020306" pitchFamily="34" charset="0"/>
              </a:rPr>
              <a:t>ANCO DE </a:t>
            </a:r>
            <a:r>
              <a:rPr lang="es-CO" sz="1800" b="1" i="1" u="sng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rlin Sans FB Demi" panose="020E0802020502020306" pitchFamily="34" charset="0"/>
              </a:rPr>
              <a:t>E</a:t>
            </a:r>
            <a:r>
              <a:rPr lang="es-CO" sz="1200" b="1" i="1" u="sng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rlin Sans FB Demi" panose="020E0802020502020306" pitchFamily="34" charset="0"/>
              </a:rPr>
              <a:t>XPERIENCIAS </a:t>
            </a:r>
            <a:r>
              <a:rPr lang="es-CO" sz="1600" b="1" i="1" u="sng">
                <a:solidFill>
                  <a:srgbClr val="FF993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rlin Sans FB Demi" panose="020E0802020502020306" pitchFamily="34" charset="0"/>
              </a:rPr>
              <a:t>ANI</a:t>
            </a:r>
            <a:endParaRPr lang="es-CO" sz="1200" b="1" i="1" u="sng">
              <a:solidFill>
                <a:srgbClr val="FF993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erlin Sans FB Demi" panose="020E0802020502020306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310226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>
        <p:fade/>
      </p:transition>
    </mc:Choice>
    <mc:Fallback>
      <p:transition spd="med" advClick="0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"/>
          <p:cNvSpPr>
            <a:spLocks noChangeArrowheads="1"/>
          </p:cNvSpPr>
          <p:nvPr/>
        </p:nvSpPr>
        <p:spPr bwMode="auto">
          <a:xfrm>
            <a:off x="402345" y="593805"/>
            <a:ext cx="6388845" cy="4247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/>
          <a:lstStyle/>
          <a:p>
            <a:pPr>
              <a:lnSpc>
                <a:spcPct val="90000"/>
              </a:lnSpc>
              <a:buClr>
                <a:srgbClr val="0054BC"/>
              </a:buClr>
              <a:buSzPts val="3300"/>
              <a:buFont typeface="Work Sans"/>
              <a:buNone/>
            </a:pPr>
            <a:r>
              <a:rPr lang="es-ES" sz="2400" b="1">
                <a:solidFill>
                  <a:schemeClr val="accent6">
                    <a:lumMod val="75000"/>
                  </a:schemeClr>
                </a:solidFill>
                <a:latin typeface="Berlin Sans FB Demi" panose="020E0802020502020306" pitchFamily="34" charset="0"/>
                <a:ea typeface="Work Sans"/>
                <a:cs typeface="Work Sans"/>
              </a:rPr>
              <a:t>IMPLEMENTACIÓN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8981EBFB-C8A9-4836-889C-826FE7776CC4}"/>
              </a:ext>
            </a:extLst>
          </p:cNvPr>
          <p:cNvSpPr txBox="1"/>
          <p:nvPr/>
        </p:nvSpPr>
        <p:spPr>
          <a:xfrm>
            <a:off x="3833870" y="1417587"/>
            <a:ext cx="4669900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s-MX" sz="1800">
                <a:solidFill>
                  <a:schemeClr val="accent4">
                    <a:lumMod val="75000"/>
                  </a:schemeClr>
                </a:solidFill>
                <a:latin typeface="Work Sans"/>
              </a:rPr>
              <a:t>Se propone que se inicie su </a:t>
            </a:r>
            <a:r>
              <a:rPr lang="es-MX" sz="1800">
                <a:solidFill>
                  <a:schemeClr val="accent6">
                    <a:lumMod val="75000"/>
                  </a:schemeClr>
                </a:solidFill>
                <a:latin typeface="Work Sans"/>
              </a:rPr>
              <a:t>implementación el 2022 </a:t>
            </a:r>
            <a:r>
              <a:rPr lang="es-MX" sz="1800">
                <a:solidFill>
                  <a:schemeClr val="accent4">
                    <a:lumMod val="75000"/>
                  </a:schemeClr>
                </a:solidFill>
                <a:latin typeface="Work Sans"/>
              </a:rPr>
              <a:t>a través del GIT Planeación contando con el aval de la alta dirección ya que se plantea su realización en todos los modos.</a:t>
            </a:r>
            <a:endParaRPr lang="es-CO" sz="1800">
              <a:solidFill>
                <a:schemeClr val="accent4">
                  <a:lumMod val="75000"/>
                </a:schemeClr>
              </a:solidFill>
              <a:latin typeface="Work Sans"/>
            </a:endParaRP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E0BB8A59-9003-43E3-8DED-2D44F4C27A0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6452" b="94265" l="6688" r="92994">
                        <a14:foregroundMark x1="7006" y1="50179" x2="7006" y2="50179"/>
                        <a14:foregroundMark x1="49045" y1="7168" x2="49045" y2="7168"/>
                        <a14:foregroundMark x1="92038" y1="48029" x2="92038" y2="48029"/>
                        <a14:foregroundMark x1="92994" y1="67742" x2="92994" y2="67742"/>
                        <a14:foregroundMark x1="93312" y1="49821" x2="93312" y2="49821"/>
                        <a14:foregroundMark x1="54459" y1="50538" x2="54459" y2="50538"/>
                        <a14:foregroundMark x1="36306" y1="51613" x2="36306" y2="51613"/>
                        <a14:foregroundMark x1="41083" y1="47670" x2="41083" y2="47670"/>
                        <a14:foregroundMark x1="54777" y1="50538" x2="54777" y2="50538"/>
                        <a14:foregroundMark x1="56688" y1="55197" x2="56688" y2="55197"/>
                        <a14:foregroundMark x1="56688" y1="49104" x2="56688" y2="43011"/>
                        <a14:foregroundMark x1="56051" y1="22222" x2="56051" y2="22222"/>
                        <a14:foregroundMark x1="56051" y1="25448" x2="56051" y2="25448"/>
                        <a14:foregroundMark x1="54777" y1="26523" x2="54777" y2="26523"/>
                        <a14:foregroundMark x1="54777" y1="36918" x2="54777" y2="36918"/>
                        <a14:foregroundMark x1="60191" y1="33333" x2="60191" y2="33333"/>
                        <a14:foregroundMark x1="55096" y1="24014" x2="55096" y2="24014"/>
                        <a14:foregroundMark x1="54777" y1="25090" x2="54777" y2="25090"/>
                        <a14:foregroundMark x1="54777" y1="25806" x2="54777" y2="25806"/>
                        <a14:foregroundMark x1="60191" y1="31541" x2="60191" y2="31541"/>
                        <a14:foregroundMark x1="62739" y1="31541" x2="62739" y2="31541"/>
                        <a14:foregroundMark x1="22611" y1="28315" x2="22611" y2="28315"/>
                        <a14:foregroundMark x1="27070" y1="30466" x2="27070" y2="30466"/>
                        <a14:foregroundMark x1="35987" y1="32258" x2="35987" y2="32258"/>
                        <a14:foregroundMark x1="42038" y1="28315" x2="42038" y2="28315"/>
                        <a14:foregroundMark x1="40764" y1="28315" x2="40764" y2="28315"/>
                        <a14:foregroundMark x1="39172" y1="24373" x2="39172" y2="24373"/>
                        <a14:foregroundMark x1="31847" y1="31183" x2="31847" y2="31183"/>
                        <a14:foregroundMark x1="43312" y1="32975" x2="43312" y2="32975"/>
                        <a14:foregroundMark x1="45860" y1="31183" x2="45860" y2="31183"/>
                        <a14:foregroundMark x1="50318" y1="32258" x2="50318" y2="32258"/>
                        <a14:foregroundMark x1="56369" y1="33692" x2="56369" y2="33692"/>
                        <a14:foregroundMark x1="59554" y1="39427" x2="59554" y2="39427"/>
                        <a14:foregroundMark x1="70701" y1="31183" x2="70701" y2="31183"/>
                        <a14:foregroundMark x1="77389" y1="30824" x2="77389" y2="30824"/>
                        <a14:foregroundMark x1="35987" y1="47312" x2="34395" y2="46595"/>
                        <a14:foregroundMark x1="26115" y1="45520" x2="26115" y2="45520"/>
                        <a14:foregroundMark x1="21019" y1="42652" x2="21019" y2="42652"/>
                        <a14:foregroundMark x1="21338" y1="49104" x2="21338" y2="49104"/>
                        <a14:foregroundMark x1="52229" y1="48029" x2="52229" y2="48029"/>
                        <a14:foregroundMark x1="21338" y1="53405" x2="21338" y2="53405"/>
                        <a14:foregroundMark x1="45860" y1="52330" x2="45860" y2="52330"/>
                        <a14:foregroundMark x1="26752" y1="44803" x2="26752" y2="44803"/>
                        <a14:foregroundMark x1="64650" y1="48746" x2="64650" y2="48746"/>
                        <a14:foregroundMark x1="76433" y1="49462" x2="76433" y2="49462"/>
                        <a14:foregroundMark x1="71338" y1="47312" x2="71338" y2="47312"/>
                        <a14:foregroundMark x1="82166" y1="49462" x2="82166" y2="49462"/>
                        <a14:foregroundMark x1="79618" y1="30824" x2="79618" y2="30824"/>
                        <a14:foregroundMark x1="75796" y1="32258" x2="75796" y2="32258"/>
                        <a14:foregroundMark x1="77707" y1="94265" x2="77707" y2="94265"/>
                        <a14:foregroundMark x1="45541" y1="68100" x2="45541" y2="68100"/>
                        <a14:foregroundMark x1="61783" y1="70609" x2="61783" y2="70609"/>
                        <a14:foregroundMark x1="49363" y1="47312" x2="49363" y2="47312"/>
                        <a14:foregroundMark x1="61783" y1="54839" x2="61783" y2="54839"/>
                        <a14:foregroundMark x1="75796" y1="66667" x2="21338" y2="24373"/>
                        <a14:foregroundMark x1="81210" y1="54122" x2="31210" y2="48029"/>
                        <a14:foregroundMark x1="31210" y1="48029" x2="38535" y2="30824"/>
                        <a14:foregroundMark x1="38535" y1="30824" x2="58917" y2="32258"/>
                        <a14:foregroundMark x1="58917" y1="32258" x2="75478" y2="30824"/>
                        <a14:foregroundMark x1="75478" y1="30824" x2="26752" y2="46595"/>
                        <a14:foregroundMark x1="26752" y1="46595" x2="43312" y2="56631"/>
                        <a14:foregroundMark x1="43312" y1="56631" x2="57643" y2="44086"/>
                        <a14:foregroundMark x1="57643" y1="44086" x2="47771" y2="59498"/>
                        <a14:foregroundMark x1="47771" y1="59498" x2="73885" y2="65591"/>
                        <a14:foregroundMark x1="73885" y1="65591" x2="55414" y2="65233"/>
                        <a14:foregroundMark x1="55414" y1="65233" x2="78981" y2="50179"/>
                        <a14:foregroundMark x1="20382" y1="41219" x2="20382" y2="41219"/>
                        <a14:foregroundMark x1="22611" y1="46953" x2="22611" y2="46953"/>
                        <a14:foregroundMark x1="24522" y1="36918" x2="24522" y2="36918"/>
                        <a14:foregroundMark x1="23248" y1="31183" x2="23248" y2="31183"/>
                        <a14:foregroundMark x1="80255" y1="32975" x2="80255" y2="32975"/>
                        <a14:foregroundMark x1="24841" y1="54122" x2="24841" y2="54122"/>
                        <a14:foregroundMark x1="20382" y1="55914" x2="20382" y2="55914"/>
                        <a14:foregroundMark x1="23567" y1="55197" x2="23567" y2="55197"/>
                        <a14:foregroundMark x1="27389" y1="55197" x2="27389" y2="55197"/>
                        <a14:foregroundMark x1="34076" y1="54480" x2="34076" y2="54480"/>
                        <a14:foregroundMark x1="40446" y1="60573" x2="40446" y2="60573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02345" y="1243011"/>
            <a:ext cx="2990850" cy="2657475"/>
          </a:xfrm>
          <a:prstGeom prst="rect">
            <a:avLst/>
          </a:prstGeom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9BC36AC9-68C4-4B67-9F51-5191603CBEA4}"/>
              </a:ext>
            </a:extLst>
          </p:cNvPr>
          <p:cNvSpPr txBox="1"/>
          <p:nvPr/>
        </p:nvSpPr>
        <p:spPr>
          <a:xfrm>
            <a:off x="14131" y="0"/>
            <a:ext cx="4572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O" sz="1600" b="1" i="1" u="sng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rlin Sans FB Demi" panose="020E0802020502020306" pitchFamily="34" charset="0"/>
              </a:rPr>
              <a:t>B</a:t>
            </a:r>
            <a:r>
              <a:rPr lang="es-CO" sz="1200" b="1" i="1" u="sng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rlin Sans FB Demi" panose="020E0802020502020306" pitchFamily="34" charset="0"/>
              </a:rPr>
              <a:t>ANCO DE </a:t>
            </a:r>
            <a:r>
              <a:rPr lang="es-CO" sz="1800" b="1" i="1" u="sng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rlin Sans FB Demi" panose="020E0802020502020306" pitchFamily="34" charset="0"/>
              </a:rPr>
              <a:t>E</a:t>
            </a:r>
            <a:r>
              <a:rPr lang="es-CO" sz="1200" b="1" i="1" u="sng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rlin Sans FB Demi" panose="020E0802020502020306" pitchFamily="34" charset="0"/>
              </a:rPr>
              <a:t>XPERIENCIAS </a:t>
            </a:r>
            <a:r>
              <a:rPr lang="es-CO" sz="1600" b="1" i="1" u="sng">
                <a:solidFill>
                  <a:srgbClr val="FF993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rlin Sans FB Demi" panose="020E0802020502020306" pitchFamily="34" charset="0"/>
              </a:rPr>
              <a:t>ANI</a:t>
            </a:r>
            <a:endParaRPr lang="es-CO" sz="1200" b="1" i="1" u="sng">
              <a:solidFill>
                <a:srgbClr val="FF993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erlin Sans FB Demi" panose="020E0802020502020306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154687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"/>
          <p:cNvSpPr>
            <a:spLocks noChangeArrowheads="1"/>
          </p:cNvSpPr>
          <p:nvPr/>
        </p:nvSpPr>
        <p:spPr bwMode="auto">
          <a:xfrm>
            <a:off x="402345" y="559335"/>
            <a:ext cx="6388845" cy="4247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/>
          <a:lstStyle/>
          <a:p>
            <a:pPr>
              <a:lnSpc>
                <a:spcPct val="90000"/>
              </a:lnSpc>
              <a:buClr>
                <a:srgbClr val="0054BC"/>
              </a:buClr>
              <a:buSzPts val="3300"/>
              <a:buFont typeface="Work Sans"/>
              <a:buNone/>
            </a:pPr>
            <a:r>
              <a:rPr lang="es-ES" sz="2400" b="1">
                <a:solidFill>
                  <a:schemeClr val="accent6">
                    <a:lumMod val="75000"/>
                  </a:schemeClr>
                </a:solidFill>
                <a:latin typeface="Berlin Sans FB Demi" panose="020E0802020502020306" pitchFamily="34" charset="0"/>
                <a:ea typeface="Work Sans"/>
                <a:cs typeface="Work Sans"/>
              </a:rPr>
              <a:t>IMPLEMENTACIÓN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8981EBFB-C8A9-4836-889C-826FE7776CC4}"/>
              </a:ext>
            </a:extLst>
          </p:cNvPr>
          <p:cNvSpPr txBox="1"/>
          <p:nvPr/>
        </p:nvSpPr>
        <p:spPr>
          <a:xfrm>
            <a:off x="3470314" y="1054031"/>
            <a:ext cx="5110575" cy="31995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lvl="0" indent="-342900" algn="just">
              <a:lnSpc>
                <a:spcPct val="107000"/>
              </a:lnSpc>
              <a:spcBef>
                <a:spcPts val="700"/>
              </a:spcBef>
              <a:buFont typeface="Symbol" panose="05050102010706020507" pitchFamily="18" charset="2"/>
              <a:buChar char=""/>
              <a:tabLst>
                <a:tab pos="1190625" algn="l"/>
              </a:tabLst>
            </a:pPr>
            <a:r>
              <a:rPr lang="es-CO" sz="1600" b="1">
                <a:solidFill>
                  <a:schemeClr val="accent6">
                    <a:lumMod val="75000"/>
                  </a:schemeClr>
                </a:solidFill>
                <a:effectLst/>
                <a:latin typeface="Work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Costos: </a:t>
            </a:r>
            <a:endParaRPr lang="es-CO" sz="1600">
              <a:solidFill>
                <a:schemeClr val="accent6">
                  <a:lumMod val="75000"/>
                </a:schemeClr>
              </a:solidFill>
              <a:effectLst/>
              <a:latin typeface="Work Sans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424940">
              <a:lnSpc>
                <a:spcPct val="107000"/>
              </a:lnSpc>
              <a:spcBef>
                <a:spcPts val="820"/>
              </a:spcBef>
              <a:spcAft>
                <a:spcPts val="800"/>
              </a:spcAft>
              <a:tabLst>
                <a:tab pos="1425575" algn="l"/>
              </a:tabLst>
            </a:pPr>
            <a:r>
              <a:rPr lang="es-CO" sz="1600" b="1">
                <a:solidFill>
                  <a:schemeClr val="accent6">
                    <a:lumMod val="75000"/>
                  </a:schemeClr>
                </a:solidFill>
                <a:effectLst/>
                <a:latin typeface="Work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No</a:t>
            </a:r>
            <a:r>
              <a:rPr lang="es-CO" sz="1600" b="1" spc="-20">
                <a:solidFill>
                  <a:schemeClr val="accent6">
                    <a:lumMod val="75000"/>
                  </a:schemeClr>
                </a:solidFill>
                <a:effectLst/>
                <a:latin typeface="Work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CO" sz="1600" b="1">
                <a:solidFill>
                  <a:schemeClr val="accent6">
                    <a:lumMod val="75000"/>
                  </a:schemeClr>
                </a:solidFill>
                <a:effectLst/>
                <a:latin typeface="Work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genera</a:t>
            </a:r>
            <a:r>
              <a:rPr lang="es-CO" sz="1600" b="1" spc="-5">
                <a:solidFill>
                  <a:schemeClr val="accent6">
                    <a:lumMod val="75000"/>
                  </a:schemeClr>
                </a:solidFill>
                <a:effectLst/>
                <a:latin typeface="Work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CO" sz="1600" b="1">
                <a:solidFill>
                  <a:schemeClr val="accent6">
                    <a:lumMod val="75000"/>
                  </a:schemeClr>
                </a:solidFill>
                <a:effectLst/>
                <a:latin typeface="Work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carga</a:t>
            </a:r>
            <a:r>
              <a:rPr lang="es-CO" sz="1600" b="1" spc="-20">
                <a:solidFill>
                  <a:schemeClr val="accent6">
                    <a:lumMod val="75000"/>
                  </a:schemeClr>
                </a:solidFill>
                <a:effectLst/>
                <a:latin typeface="Work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CO" sz="1600" b="1">
                <a:solidFill>
                  <a:schemeClr val="accent6">
                    <a:lumMod val="75000"/>
                  </a:schemeClr>
                </a:solidFill>
                <a:effectLst/>
                <a:latin typeface="Work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presupuestal </a:t>
            </a:r>
            <a:r>
              <a:rPr lang="es-CO" sz="1600">
                <a:solidFill>
                  <a:schemeClr val="accent6">
                    <a:lumMod val="75000"/>
                  </a:schemeClr>
                </a:solidFill>
                <a:effectLst/>
                <a:latin typeface="Work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para la Entidad, se puede realizar un desarrollo interno usando recurso humano y tecnológico interno. </a:t>
            </a:r>
          </a:p>
          <a:p>
            <a:pPr marL="457200" algn="just">
              <a:lnSpc>
                <a:spcPct val="107000"/>
              </a:lnSpc>
              <a:spcBef>
                <a:spcPts val="700"/>
              </a:spcBef>
              <a:tabLst>
                <a:tab pos="1190625" algn="l"/>
              </a:tabLst>
            </a:pPr>
            <a:r>
              <a:rPr lang="es-CO" sz="1600" b="1">
                <a:solidFill>
                  <a:schemeClr val="accent6">
                    <a:lumMod val="75000"/>
                  </a:schemeClr>
                </a:solidFill>
                <a:effectLst/>
                <a:latin typeface="Work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s-CO" sz="1600">
              <a:solidFill>
                <a:schemeClr val="accent6">
                  <a:lumMod val="75000"/>
                </a:schemeClr>
              </a:solidFill>
              <a:effectLst/>
              <a:latin typeface="Work Sans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07000"/>
              </a:lnSpc>
              <a:spcBef>
                <a:spcPts val="700"/>
              </a:spcBef>
              <a:buFont typeface="Symbol" panose="05050102010706020507" pitchFamily="18" charset="2"/>
              <a:buChar char=""/>
              <a:tabLst>
                <a:tab pos="1190625" algn="l"/>
              </a:tabLst>
            </a:pPr>
            <a:r>
              <a:rPr lang="es-CO" sz="1600" b="1">
                <a:solidFill>
                  <a:schemeClr val="accent6">
                    <a:lumMod val="75000"/>
                  </a:schemeClr>
                </a:solidFill>
                <a:effectLst/>
                <a:latin typeface="Work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Tiempo: </a:t>
            </a:r>
            <a:endParaRPr lang="es-CO" sz="1600">
              <a:solidFill>
                <a:schemeClr val="accent6">
                  <a:lumMod val="75000"/>
                </a:schemeClr>
              </a:solidFill>
              <a:effectLst/>
              <a:latin typeface="Work Sans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425575" marR="374015">
              <a:lnSpc>
                <a:spcPct val="107000"/>
              </a:lnSpc>
              <a:spcBef>
                <a:spcPts val="825"/>
              </a:spcBef>
              <a:spcAft>
                <a:spcPts val="800"/>
              </a:spcAft>
              <a:tabLst>
                <a:tab pos="1425575" algn="l"/>
              </a:tabLst>
            </a:pPr>
            <a:r>
              <a:rPr lang="es-CO" sz="1600">
                <a:solidFill>
                  <a:schemeClr val="accent6">
                    <a:lumMod val="75000"/>
                  </a:schemeClr>
                </a:solidFill>
                <a:effectLst/>
                <a:latin typeface="Work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Se</a:t>
            </a:r>
            <a:r>
              <a:rPr lang="es-CO" sz="1600" spc="-55">
                <a:solidFill>
                  <a:schemeClr val="accent6">
                    <a:lumMod val="75000"/>
                  </a:schemeClr>
                </a:solidFill>
                <a:effectLst/>
                <a:latin typeface="Work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CO" sz="1600">
                <a:solidFill>
                  <a:schemeClr val="accent6">
                    <a:lumMod val="75000"/>
                  </a:schemeClr>
                </a:solidFill>
                <a:effectLst/>
                <a:latin typeface="Work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estima</a:t>
            </a:r>
            <a:r>
              <a:rPr lang="es-CO" sz="1600" spc="-60">
                <a:solidFill>
                  <a:schemeClr val="accent6">
                    <a:lumMod val="75000"/>
                  </a:schemeClr>
                </a:solidFill>
                <a:effectLst/>
                <a:latin typeface="Work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CO" sz="1600">
                <a:solidFill>
                  <a:schemeClr val="accent6">
                    <a:lumMod val="75000"/>
                  </a:schemeClr>
                </a:solidFill>
                <a:effectLst/>
                <a:latin typeface="Work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que</a:t>
            </a:r>
            <a:r>
              <a:rPr lang="es-CO" sz="1600" spc="-50">
                <a:solidFill>
                  <a:schemeClr val="accent6">
                    <a:lumMod val="75000"/>
                  </a:schemeClr>
                </a:solidFill>
                <a:effectLst/>
                <a:latin typeface="Work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CO" sz="1600">
                <a:solidFill>
                  <a:schemeClr val="accent6">
                    <a:lumMod val="75000"/>
                  </a:schemeClr>
                </a:solidFill>
                <a:effectLst/>
                <a:latin typeface="Work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el</a:t>
            </a:r>
            <a:r>
              <a:rPr lang="es-CO" sz="1600" spc="-55">
                <a:solidFill>
                  <a:schemeClr val="accent6">
                    <a:lumMod val="75000"/>
                  </a:schemeClr>
                </a:solidFill>
                <a:effectLst/>
                <a:latin typeface="Work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CO" sz="1600">
                <a:solidFill>
                  <a:schemeClr val="accent6">
                    <a:lumMod val="75000"/>
                  </a:schemeClr>
                </a:solidFill>
                <a:effectLst/>
                <a:latin typeface="Work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proyecto</a:t>
            </a:r>
            <a:r>
              <a:rPr lang="es-CO" sz="1600" spc="-65">
                <a:solidFill>
                  <a:schemeClr val="accent6">
                    <a:lumMod val="75000"/>
                  </a:schemeClr>
                </a:solidFill>
                <a:effectLst/>
                <a:latin typeface="Work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CO" sz="1600" b="1">
                <a:solidFill>
                  <a:schemeClr val="accent6">
                    <a:lumMod val="75000"/>
                  </a:schemeClr>
                </a:solidFill>
                <a:effectLst/>
                <a:latin typeface="Work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se</a:t>
            </a:r>
            <a:r>
              <a:rPr lang="es-CO" sz="1600" b="1" spc="-60">
                <a:solidFill>
                  <a:schemeClr val="accent6">
                    <a:lumMod val="75000"/>
                  </a:schemeClr>
                </a:solidFill>
                <a:effectLst/>
                <a:latin typeface="Work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CO" sz="1600" b="1">
                <a:solidFill>
                  <a:schemeClr val="accent6">
                    <a:lumMod val="75000"/>
                  </a:schemeClr>
                </a:solidFill>
                <a:effectLst/>
                <a:latin typeface="Work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puede</a:t>
            </a:r>
            <a:r>
              <a:rPr lang="es-CO" sz="1600" b="1" spc="-55">
                <a:solidFill>
                  <a:schemeClr val="accent6">
                    <a:lumMod val="75000"/>
                  </a:schemeClr>
                </a:solidFill>
                <a:effectLst/>
                <a:latin typeface="Work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CO" sz="1600" b="1">
                <a:solidFill>
                  <a:schemeClr val="accent6">
                    <a:lumMod val="75000"/>
                  </a:schemeClr>
                </a:solidFill>
                <a:effectLst/>
                <a:latin typeface="Work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implementar</a:t>
            </a:r>
            <a:r>
              <a:rPr lang="es-CO" sz="1600" b="1" spc="-40">
                <a:solidFill>
                  <a:schemeClr val="accent6">
                    <a:lumMod val="75000"/>
                  </a:schemeClr>
                </a:solidFill>
                <a:effectLst/>
                <a:latin typeface="Work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CO" sz="1600" b="1">
                <a:solidFill>
                  <a:schemeClr val="accent6">
                    <a:lumMod val="75000"/>
                  </a:schemeClr>
                </a:solidFill>
                <a:effectLst/>
                <a:latin typeface="Work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en</a:t>
            </a:r>
            <a:r>
              <a:rPr lang="es-CO" sz="1600" b="1" spc="-55">
                <a:solidFill>
                  <a:schemeClr val="accent6">
                    <a:lumMod val="75000"/>
                  </a:schemeClr>
                </a:solidFill>
                <a:effectLst/>
                <a:latin typeface="Work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CO" sz="1600" b="1">
                <a:solidFill>
                  <a:schemeClr val="accent6">
                    <a:lumMod val="75000"/>
                  </a:schemeClr>
                </a:solidFill>
                <a:effectLst/>
                <a:latin typeface="Work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un</a:t>
            </a:r>
            <a:r>
              <a:rPr lang="es-CO" sz="1600" b="1" spc="-70">
                <a:solidFill>
                  <a:schemeClr val="accent6">
                    <a:lumMod val="75000"/>
                  </a:schemeClr>
                </a:solidFill>
                <a:effectLst/>
                <a:latin typeface="Work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CO" sz="1600" b="1">
                <a:solidFill>
                  <a:schemeClr val="accent6">
                    <a:lumMod val="75000"/>
                  </a:schemeClr>
                </a:solidFill>
                <a:effectLst/>
                <a:latin typeface="Work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término </a:t>
            </a:r>
            <a:r>
              <a:rPr lang="es-CO" sz="1600" b="1" spc="-290">
                <a:solidFill>
                  <a:schemeClr val="accent6">
                    <a:lumMod val="75000"/>
                  </a:schemeClr>
                </a:solidFill>
                <a:effectLst/>
                <a:latin typeface="Work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de</a:t>
            </a:r>
            <a:r>
              <a:rPr lang="es-CO" sz="1600" b="1" spc="5">
                <a:solidFill>
                  <a:schemeClr val="accent6">
                    <a:lumMod val="75000"/>
                  </a:schemeClr>
                </a:solidFill>
                <a:effectLst/>
                <a:latin typeface="Work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cuatro (</a:t>
            </a:r>
            <a:r>
              <a:rPr lang="es-CO" sz="1600" b="1">
                <a:solidFill>
                  <a:schemeClr val="accent6">
                    <a:lumMod val="75000"/>
                  </a:schemeClr>
                </a:solidFill>
                <a:effectLst/>
                <a:latin typeface="Work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4)</a:t>
            </a:r>
            <a:r>
              <a:rPr lang="es-CO" sz="1600" b="1" spc="-15">
                <a:solidFill>
                  <a:schemeClr val="accent6">
                    <a:lumMod val="75000"/>
                  </a:schemeClr>
                </a:solidFill>
                <a:effectLst/>
                <a:latin typeface="Work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CO" sz="1600" b="1">
                <a:solidFill>
                  <a:schemeClr val="accent6">
                    <a:lumMod val="75000"/>
                  </a:schemeClr>
                </a:solidFill>
                <a:effectLst/>
                <a:latin typeface="Work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meses.</a:t>
            </a: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E0BB8A59-9003-43E3-8DED-2D44F4C27A0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6452" b="94265" l="6688" r="92994">
                        <a14:foregroundMark x1="7006" y1="50179" x2="7006" y2="50179"/>
                        <a14:foregroundMark x1="49045" y1="7168" x2="49045" y2="7168"/>
                        <a14:foregroundMark x1="92038" y1="48029" x2="92038" y2="48029"/>
                        <a14:foregroundMark x1="92994" y1="67742" x2="92994" y2="67742"/>
                        <a14:foregroundMark x1="93312" y1="49821" x2="93312" y2="49821"/>
                        <a14:foregroundMark x1="54459" y1="50538" x2="54459" y2="50538"/>
                        <a14:foregroundMark x1="36306" y1="51613" x2="36306" y2="51613"/>
                        <a14:foregroundMark x1="41083" y1="47670" x2="41083" y2="47670"/>
                        <a14:foregroundMark x1="54777" y1="50538" x2="54777" y2="50538"/>
                        <a14:foregroundMark x1="56688" y1="55197" x2="56688" y2="55197"/>
                        <a14:foregroundMark x1="56688" y1="49104" x2="56688" y2="43011"/>
                        <a14:foregroundMark x1="56051" y1="22222" x2="56051" y2="22222"/>
                        <a14:foregroundMark x1="56051" y1="25448" x2="56051" y2="25448"/>
                        <a14:foregroundMark x1="54777" y1="26523" x2="54777" y2="26523"/>
                        <a14:foregroundMark x1="54777" y1="36918" x2="54777" y2="36918"/>
                        <a14:foregroundMark x1="60191" y1="33333" x2="60191" y2="33333"/>
                        <a14:foregroundMark x1="55096" y1="24014" x2="55096" y2="24014"/>
                        <a14:foregroundMark x1="54777" y1="25090" x2="54777" y2="25090"/>
                        <a14:foregroundMark x1="54777" y1="25806" x2="54777" y2="25806"/>
                        <a14:foregroundMark x1="60191" y1="31541" x2="60191" y2="31541"/>
                        <a14:foregroundMark x1="62739" y1="31541" x2="62739" y2="31541"/>
                        <a14:foregroundMark x1="22611" y1="28315" x2="22611" y2="28315"/>
                        <a14:foregroundMark x1="27070" y1="30466" x2="27070" y2="30466"/>
                        <a14:foregroundMark x1="35987" y1="32258" x2="35987" y2="32258"/>
                        <a14:foregroundMark x1="42038" y1="28315" x2="42038" y2="28315"/>
                        <a14:foregroundMark x1="40764" y1="28315" x2="40764" y2="28315"/>
                        <a14:foregroundMark x1="39172" y1="24373" x2="39172" y2="24373"/>
                        <a14:foregroundMark x1="31847" y1="31183" x2="31847" y2="31183"/>
                        <a14:foregroundMark x1="43312" y1="32975" x2="43312" y2="32975"/>
                        <a14:foregroundMark x1="45860" y1="31183" x2="45860" y2="31183"/>
                        <a14:foregroundMark x1="50318" y1="32258" x2="50318" y2="32258"/>
                        <a14:foregroundMark x1="56369" y1="33692" x2="56369" y2="33692"/>
                        <a14:foregroundMark x1="59554" y1="39427" x2="59554" y2="39427"/>
                        <a14:foregroundMark x1="70701" y1="31183" x2="70701" y2="31183"/>
                        <a14:foregroundMark x1="77389" y1="30824" x2="77389" y2="30824"/>
                        <a14:foregroundMark x1="35987" y1="47312" x2="34395" y2="46595"/>
                        <a14:foregroundMark x1="26115" y1="45520" x2="26115" y2="45520"/>
                        <a14:foregroundMark x1="21019" y1="42652" x2="21019" y2="42652"/>
                        <a14:foregroundMark x1="21338" y1="49104" x2="21338" y2="49104"/>
                        <a14:foregroundMark x1="52229" y1="48029" x2="52229" y2="48029"/>
                        <a14:foregroundMark x1="21338" y1="53405" x2="21338" y2="53405"/>
                        <a14:foregroundMark x1="45860" y1="52330" x2="45860" y2="52330"/>
                        <a14:foregroundMark x1="26752" y1="44803" x2="26752" y2="44803"/>
                        <a14:foregroundMark x1="64650" y1="48746" x2="64650" y2="48746"/>
                        <a14:foregroundMark x1="76433" y1="49462" x2="76433" y2="49462"/>
                        <a14:foregroundMark x1="71338" y1="47312" x2="71338" y2="47312"/>
                        <a14:foregroundMark x1="82166" y1="49462" x2="82166" y2="49462"/>
                        <a14:foregroundMark x1="79618" y1="30824" x2="79618" y2="30824"/>
                        <a14:foregroundMark x1="75796" y1="32258" x2="75796" y2="32258"/>
                        <a14:foregroundMark x1="77707" y1="94265" x2="77707" y2="94265"/>
                        <a14:foregroundMark x1="45541" y1="68100" x2="45541" y2="68100"/>
                        <a14:foregroundMark x1="61783" y1="70609" x2="61783" y2="70609"/>
                        <a14:foregroundMark x1="49363" y1="47312" x2="49363" y2="47312"/>
                        <a14:foregroundMark x1="61783" y1="54839" x2="61783" y2="54839"/>
                        <a14:foregroundMark x1="75796" y1="66667" x2="21338" y2="24373"/>
                        <a14:foregroundMark x1="81210" y1="54122" x2="31210" y2="48029"/>
                        <a14:foregroundMark x1="31210" y1="48029" x2="38535" y2="30824"/>
                        <a14:foregroundMark x1="38535" y1="30824" x2="58917" y2="32258"/>
                        <a14:foregroundMark x1="58917" y1="32258" x2="75478" y2="30824"/>
                        <a14:foregroundMark x1="75478" y1="30824" x2="26752" y2="46595"/>
                        <a14:foregroundMark x1="26752" y1="46595" x2="43312" y2="56631"/>
                        <a14:foregroundMark x1="43312" y1="56631" x2="57643" y2="44086"/>
                        <a14:foregroundMark x1="57643" y1="44086" x2="47771" y2="59498"/>
                        <a14:foregroundMark x1="47771" y1="59498" x2="73885" y2="65591"/>
                        <a14:foregroundMark x1="73885" y1="65591" x2="55414" y2="65233"/>
                        <a14:foregroundMark x1="55414" y1="65233" x2="78981" y2="50179"/>
                        <a14:foregroundMark x1="20382" y1="41219" x2="20382" y2="41219"/>
                        <a14:foregroundMark x1="22611" y1="46953" x2="22611" y2="46953"/>
                        <a14:foregroundMark x1="24522" y1="36918" x2="24522" y2="36918"/>
                        <a14:foregroundMark x1="23248" y1="31183" x2="23248" y2="31183"/>
                        <a14:foregroundMark x1="80255" y1="32975" x2="80255" y2="32975"/>
                        <a14:foregroundMark x1="24841" y1="54122" x2="24841" y2="54122"/>
                        <a14:foregroundMark x1="20382" y1="55914" x2="20382" y2="55914"/>
                        <a14:foregroundMark x1="23567" y1="55197" x2="23567" y2="55197"/>
                        <a14:foregroundMark x1="27389" y1="55197" x2="27389" y2="55197"/>
                        <a14:foregroundMark x1="34076" y1="54480" x2="34076" y2="54480"/>
                        <a14:foregroundMark x1="40446" y1="60573" x2="40446" y2="60573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02345" y="1243011"/>
            <a:ext cx="2990850" cy="2657475"/>
          </a:xfrm>
          <a:prstGeom prst="rect">
            <a:avLst/>
          </a:prstGeom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FCBD9C28-C1BB-44CB-A942-99C2441805AE}"/>
              </a:ext>
            </a:extLst>
          </p:cNvPr>
          <p:cNvSpPr txBox="1"/>
          <p:nvPr/>
        </p:nvSpPr>
        <p:spPr>
          <a:xfrm>
            <a:off x="14131" y="0"/>
            <a:ext cx="4572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O" sz="1600" b="1" i="1" u="sng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rlin Sans FB Demi" panose="020E0802020502020306" pitchFamily="34" charset="0"/>
              </a:rPr>
              <a:t>B</a:t>
            </a:r>
            <a:r>
              <a:rPr lang="es-CO" sz="1200" b="1" i="1" u="sng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rlin Sans FB Demi" panose="020E0802020502020306" pitchFamily="34" charset="0"/>
              </a:rPr>
              <a:t>ANCO DE </a:t>
            </a:r>
            <a:r>
              <a:rPr lang="es-CO" sz="1800" b="1" i="1" u="sng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rlin Sans FB Demi" panose="020E0802020502020306" pitchFamily="34" charset="0"/>
              </a:rPr>
              <a:t>E</a:t>
            </a:r>
            <a:r>
              <a:rPr lang="es-CO" sz="1200" b="1" i="1" u="sng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rlin Sans FB Demi" panose="020E0802020502020306" pitchFamily="34" charset="0"/>
              </a:rPr>
              <a:t>XPERIENCIAS </a:t>
            </a:r>
            <a:r>
              <a:rPr lang="es-CO" sz="1600" b="1" i="1" u="sng">
                <a:solidFill>
                  <a:srgbClr val="FF993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rlin Sans FB Demi" panose="020E0802020502020306" pitchFamily="34" charset="0"/>
              </a:rPr>
              <a:t>ANI</a:t>
            </a:r>
            <a:endParaRPr lang="es-CO" sz="1200" b="1" i="1" u="sng">
              <a:solidFill>
                <a:srgbClr val="FF993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erlin Sans FB Demi" panose="020E0802020502020306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299602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DCEAF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adroTexto 3"/>
          <p:cNvSpPr txBox="1"/>
          <p:nvPr/>
        </p:nvSpPr>
        <p:spPr>
          <a:xfrm>
            <a:off x="2068599" y="2031904"/>
            <a:ext cx="5006802" cy="600164"/>
          </a:xfrm>
          <a:prstGeom prst="rect">
            <a:avLst/>
          </a:prstGeom>
          <a:ln>
            <a:noFill/>
          </a:ln>
        </p:spPr>
        <p:txBody>
          <a:bodyPr anchor="ctr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defRPr sz="2400" b="1">
                <a:solidFill>
                  <a:srgbClr val="2A54A7">
                    <a:lumMod val="75000"/>
                  </a:srgbClr>
                </a:solidFill>
                <a:latin typeface="Work Sans Light" panose="00000400000000000000" pitchFamily="2" charset="0"/>
              </a:defRPr>
            </a:lvl1pPr>
          </a:lstStyle>
          <a:p>
            <a:pPr algn="ctr"/>
            <a:r>
              <a:rPr lang="es-CO" sz="4000">
                <a:latin typeface="Berlin Sans FB Demi" panose="020E0802020502020306" pitchFamily="34" charset="0"/>
              </a:rPr>
              <a:t>¡Gracias!</a:t>
            </a:r>
          </a:p>
        </p:txBody>
      </p:sp>
      <p:pic>
        <p:nvPicPr>
          <p:cNvPr id="5" name="Imagen 4" descr="FRANJA-GRIS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7463" y="2608984"/>
            <a:ext cx="4029075" cy="339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Imagen 7">
            <a:extLst>
              <a:ext uri="{FF2B5EF4-FFF2-40B4-BE49-F238E27FC236}">
                <a16:creationId xmlns:a16="http://schemas.microsoft.com/office/drawing/2014/main" id="{2B356B44-7C9C-4A99-BEB4-444749B631D0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3618" y="287254"/>
            <a:ext cx="1118402" cy="319096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DB164DE6-887C-46B3-A6E6-DA68178393FC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73789" y="4523448"/>
            <a:ext cx="1870211" cy="350665"/>
          </a:xfrm>
          <a:prstGeom prst="rect">
            <a:avLst/>
          </a:prstGeom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529FCB46-CA1D-4869-BDB0-4239898126C4}"/>
              </a:ext>
            </a:extLst>
          </p:cNvPr>
          <p:cNvSpPr txBox="1"/>
          <p:nvPr/>
        </p:nvSpPr>
        <p:spPr>
          <a:xfrm>
            <a:off x="14131" y="0"/>
            <a:ext cx="4572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O" sz="1600" b="1" i="1" u="sng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rlin Sans FB Demi" panose="020E0802020502020306" pitchFamily="34" charset="0"/>
              </a:rPr>
              <a:t>B</a:t>
            </a:r>
            <a:r>
              <a:rPr lang="es-CO" sz="1200" b="1" i="1" u="sng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rlin Sans FB Demi" panose="020E0802020502020306" pitchFamily="34" charset="0"/>
              </a:rPr>
              <a:t>ANCO DE </a:t>
            </a:r>
            <a:r>
              <a:rPr lang="es-CO" sz="1800" b="1" i="1" u="sng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rlin Sans FB Demi" panose="020E0802020502020306" pitchFamily="34" charset="0"/>
              </a:rPr>
              <a:t>E</a:t>
            </a:r>
            <a:r>
              <a:rPr lang="es-CO" sz="1200" b="1" i="1" u="sng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rlin Sans FB Demi" panose="020E0802020502020306" pitchFamily="34" charset="0"/>
              </a:rPr>
              <a:t>XPERIENCIAS </a:t>
            </a:r>
            <a:r>
              <a:rPr lang="es-CO" sz="1600" b="1" i="1" u="sng">
                <a:solidFill>
                  <a:srgbClr val="FF993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rlin Sans FB Demi" panose="020E0802020502020306" pitchFamily="34" charset="0"/>
              </a:rPr>
              <a:t>ANI</a:t>
            </a:r>
            <a:endParaRPr lang="es-CO" sz="1200" b="1" i="1" u="sng">
              <a:solidFill>
                <a:srgbClr val="FF993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erlin Sans FB Demi" panose="020E0802020502020306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1129473"/>
      </p:ext>
    </p:extLst>
  </p:cSld>
  <p:clrMapOvr>
    <a:overrideClrMapping bg1="lt1" tx1="dk1" bg2="dk2" tx2="lt2" accent1="accent1" accent2="accent2" accent3="accent3" accent4="accent4" accent5="accent5" accent6="accent6" hlink="hlink" folHlink="folHlink"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4" name="Google Shape;214;p28"/>
          <p:cNvSpPr txBox="1">
            <a:spLocks noGrp="1"/>
          </p:cNvSpPr>
          <p:nvPr>
            <p:ph type="body" idx="1"/>
          </p:nvPr>
        </p:nvSpPr>
        <p:spPr>
          <a:xfrm>
            <a:off x="5148341" y="1769206"/>
            <a:ext cx="3657908" cy="25352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/>
          <a:p>
            <a:pPr marL="158750" indent="0" algn="just"/>
            <a:r>
              <a:rPr lang="es-MX" sz="1800" b="1">
                <a:solidFill>
                  <a:srgbClr val="002060"/>
                </a:solidFill>
              </a:rPr>
              <a:t>Herramienta</a:t>
            </a:r>
            <a:r>
              <a:rPr lang="es-MX" sz="1800">
                <a:solidFill>
                  <a:schemeClr val="bg2">
                    <a:lumMod val="75000"/>
                  </a:schemeClr>
                </a:solidFill>
              </a:rPr>
              <a:t> para </a:t>
            </a:r>
            <a:r>
              <a:rPr lang="es-MX" sz="1800" b="1">
                <a:solidFill>
                  <a:srgbClr val="002060"/>
                </a:solidFill>
              </a:rPr>
              <a:t>generar información y transferencia del conocimiento</a:t>
            </a:r>
            <a:r>
              <a:rPr lang="es-MX" sz="1800">
                <a:solidFill>
                  <a:srgbClr val="002060"/>
                </a:solidFill>
              </a:rPr>
              <a:t> </a:t>
            </a:r>
            <a:r>
              <a:rPr lang="es-MX" sz="1800">
                <a:solidFill>
                  <a:schemeClr val="bg2">
                    <a:lumMod val="75000"/>
                  </a:schemeClr>
                </a:solidFill>
              </a:rPr>
              <a:t>que permita </a:t>
            </a:r>
            <a:r>
              <a:rPr lang="es-MX" sz="1800" b="1">
                <a:solidFill>
                  <a:srgbClr val="002060"/>
                </a:solidFill>
              </a:rPr>
              <a:t>socializar los aprendizajes</a:t>
            </a:r>
            <a:r>
              <a:rPr lang="es-MX" sz="1800">
                <a:solidFill>
                  <a:srgbClr val="002060"/>
                </a:solidFill>
              </a:rPr>
              <a:t> </a:t>
            </a:r>
            <a:r>
              <a:rPr lang="es-MX" sz="1800">
                <a:solidFill>
                  <a:schemeClr val="bg2">
                    <a:lumMod val="75000"/>
                  </a:schemeClr>
                </a:solidFill>
              </a:rPr>
              <a:t>generados por la Entidad en procura del </a:t>
            </a:r>
            <a:r>
              <a:rPr lang="es-MX" sz="1800" b="1">
                <a:solidFill>
                  <a:srgbClr val="002060"/>
                </a:solidFill>
              </a:rPr>
              <a:t>mejoramiento continuo </a:t>
            </a:r>
            <a:r>
              <a:rPr lang="es-MX" sz="1800">
                <a:solidFill>
                  <a:schemeClr val="bg2">
                    <a:lumMod val="75000"/>
                  </a:schemeClr>
                </a:solidFill>
              </a:rPr>
              <a:t>de la gestión de la ANI. </a:t>
            </a:r>
          </a:p>
        </p:txBody>
      </p:sp>
      <p:sp>
        <p:nvSpPr>
          <p:cNvPr id="216" name="Google Shape;216;p28"/>
          <p:cNvSpPr txBox="1">
            <a:spLocks noGrp="1"/>
          </p:cNvSpPr>
          <p:nvPr>
            <p:ph type="title"/>
          </p:nvPr>
        </p:nvSpPr>
        <p:spPr>
          <a:xfrm>
            <a:off x="5417790" y="1124158"/>
            <a:ext cx="3119010" cy="643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Work Sans SemiBold"/>
              <a:buNone/>
            </a:pPr>
            <a:r>
              <a:rPr lang="es-CO" b="1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rlin Sans FB Demi" panose="020E0802020502020306" pitchFamily="34" charset="0"/>
              </a:rPr>
              <a:t>¿Qué es?</a:t>
            </a:r>
            <a:endParaRPr b="1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erlin Sans FB Demi" panose="020E0802020502020306" pitchFamily="34" charset="0"/>
            </a:endParaRPr>
          </a:p>
        </p:txBody>
      </p:sp>
      <p:pic>
        <p:nvPicPr>
          <p:cNvPr id="5" name="Picture 3">
            <a:extLst>
              <a:ext uri="{FF2B5EF4-FFF2-40B4-BE49-F238E27FC236}">
                <a16:creationId xmlns:a16="http://schemas.microsoft.com/office/drawing/2014/main" id="{7C219E14-37B1-449C-A033-A4382AA9EC3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26" r="7730" b="1"/>
          <a:stretch/>
        </p:blipFill>
        <p:spPr>
          <a:xfrm>
            <a:off x="14131" y="1126882"/>
            <a:ext cx="4999486" cy="2812211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6" name="CuadroTexto 5">
            <a:extLst>
              <a:ext uri="{FF2B5EF4-FFF2-40B4-BE49-F238E27FC236}">
                <a16:creationId xmlns:a16="http://schemas.microsoft.com/office/drawing/2014/main" id="{F7D2F148-B8B9-40F4-810E-F00B968A16E8}"/>
              </a:ext>
            </a:extLst>
          </p:cNvPr>
          <p:cNvSpPr txBox="1"/>
          <p:nvPr/>
        </p:nvSpPr>
        <p:spPr>
          <a:xfrm>
            <a:off x="14131" y="0"/>
            <a:ext cx="4572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O" sz="1600" b="1" i="1" u="sng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rlin Sans FB Demi" panose="020E0802020502020306" pitchFamily="34" charset="0"/>
              </a:rPr>
              <a:t>B</a:t>
            </a:r>
            <a:r>
              <a:rPr lang="es-CO" sz="1200" b="1" i="1" u="sng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rlin Sans FB Demi" panose="020E0802020502020306" pitchFamily="34" charset="0"/>
              </a:rPr>
              <a:t>ANCO DE </a:t>
            </a:r>
            <a:r>
              <a:rPr lang="es-CO" sz="1800" b="1" i="1" u="sng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rlin Sans FB Demi" panose="020E0802020502020306" pitchFamily="34" charset="0"/>
              </a:rPr>
              <a:t>E</a:t>
            </a:r>
            <a:r>
              <a:rPr lang="es-CO" sz="1200" b="1" i="1" u="sng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rlin Sans FB Demi" panose="020E0802020502020306" pitchFamily="34" charset="0"/>
              </a:rPr>
              <a:t>XPERIENCIAS </a:t>
            </a:r>
            <a:r>
              <a:rPr lang="es-CO" sz="1600" b="1" i="1" u="sng">
                <a:solidFill>
                  <a:srgbClr val="FF993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rlin Sans FB Demi" panose="020E0802020502020306" pitchFamily="34" charset="0"/>
              </a:rPr>
              <a:t>ANI</a:t>
            </a:r>
            <a:endParaRPr lang="es-CO" sz="1200" b="1" i="1" u="sng">
              <a:solidFill>
                <a:srgbClr val="FF993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erlin Sans FB Demi" panose="020E0802020502020306" pitchFamily="34" charset="0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2" name="Google Shape;202;p26"/>
          <p:cNvSpPr txBox="1">
            <a:spLocks noGrp="1"/>
          </p:cNvSpPr>
          <p:nvPr>
            <p:ph type="title"/>
          </p:nvPr>
        </p:nvSpPr>
        <p:spPr>
          <a:xfrm>
            <a:off x="0" y="531344"/>
            <a:ext cx="2999263" cy="6401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Work Sans SemiBold"/>
              <a:buNone/>
            </a:pPr>
            <a:r>
              <a:rPr lang="en-US" sz="3200" b="1" err="1">
                <a:solidFill>
                  <a:srgbClr val="002060"/>
                </a:solidFill>
                <a:latin typeface="Berlin Sans FB Demi" panose="020E0802020502020306" pitchFamily="34" charset="0"/>
              </a:rPr>
              <a:t>Integrantes</a:t>
            </a:r>
            <a:endParaRPr>
              <a:solidFill>
                <a:srgbClr val="002060"/>
              </a:solidFill>
              <a:latin typeface="Berlin Sans FB Demi" panose="020E0802020502020306" pitchFamily="34" charset="0"/>
            </a:endParaRP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143080B2-7515-4300-8A21-C054CAA4880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00468" y="0"/>
            <a:ext cx="3243532" cy="5143500"/>
          </a:xfrm>
          <a:prstGeom prst="rect">
            <a:avLst/>
          </a:prstGeom>
        </p:spPr>
      </p:pic>
      <p:graphicFrame>
        <p:nvGraphicFramePr>
          <p:cNvPr id="8" name="Tabla 7">
            <a:extLst>
              <a:ext uri="{FF2B5EF4-FFF2-40B4-BE49-F238E27FC236}">
                <a16:creationId xmlns:a16="http://schemas.microsoft.com/office/drawing/2014/main" id="{8B5C1ABA-B556-441D-8871-8390CB32296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80124417"/>
              </p:ext>
            </p:extLst>
          </p:nvPr>
        </p:nvGraphicFramePr>
        <p:xfrm>
          <a:off x="275422" y="1333554"/>
          <a:ext cx="5166913" cy="3428035"/>
        </p:xfrm>
        <a:graphic>
          <a:graphicData uri="http://schemas.openxmlformats.org/drawingml/2006/table">
            <a:tbl>
              <a:tblPr firstRow="1" firstCol="1" bandRow="1">
                <a:tableStyleId>{912C8C85-51F0-491E-9774-3900AFEF0FD7}</a:tableStyleId>
              </a:tblPr>
              <a:tblGrid>
                <a:gridCol w="1700771">
                  <a:extLst>
                    <a:ext uri="{9D8B030D-6E8A-4147-A177-3AD203B41FA5}">
                      <a16:colId xmlns:a16="http://schemas.microsoft.com/office/drawing/2014/main" val="3354545007"/>
                    </a:ext>
                  </a:extLst>
                </a:gridCol>
                <a:gridCol w="1969320">
                  <a:extLst>
                    <a:ext uri="{9D8B030D-6E8A-4147-A177-3AD203B41FA5}">
                      <a16:colId xmlns:a16="http://schemas.microsoft.com/office/drawing/2014/main" val="3661746790"/>
                    </a:ext>
                  </a:extLst>
                </a:gridCol>
                <a:gridCol w="1496822">
                  <a:extLst>
                    <a:ext uri="{9D8B030D-6E8A-4147-A177-3AD203B41FA5}">
                      <a16:colId xmlns:a16="http://schemas.microsoft.com/office/drawing/2014/main" val="3347678764"/>
                    </a:ext>
                  </a:extLst>
                </a:gridCol>
              </a:tblGrid>
              <a:tr h="48688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s-ES" sz="1200" b="1">
                          <a:solidFill>
                            <a:schemeClr val="bg1"/>
                          </a:solidFill>
                          <a:effectLst/>
                          <a:latin typeface="Work Sans" pitchFamily="2" charset="0"/>
                        </a:rPr>
                        <a:t>Nombre</a:t>
                      </a:r>
                      <a:endParaRPr lang="es-CO" sz="1200" b="1">
                        <a:solidFill>
                          <a:schemeClr val="bg1"/>
                        </a:solidFill>
                        <a:effectLst/>
                        <a:latin typeface="Work Sans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4741" marR="170845" marT="170845" marB="17084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s-ES" sz="1200" b="0">
                          <a:solidFill>
                            <a:schemeClr val="bg1"/>
                          </a:solidFill>
                          <a:effectLst/>
                          <a:latin typeface="Work Sans" pitchFamily="2" charset="0"/>
                        </a:rPr>
                        <a:t>Cargo</a:t>
                      </a:r>
                      <a:endParaRPr lang="es-CO" sz="1200" b="0">
                        <a:solidFill>
                          <a:schemeClr val="bg1"/>
                        </a:solidFill>
                        <a:effectLst/>
                        <a:latin typeface="Work Sans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4741" marR="170845" marT="170845" marB="17084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s-ES" sz="1200" b="0">
                          <a:solidFill>
                            <a:schemeClr val="bg1"/>
                          </a:solidFill>
                          <a:effectLst/>
                          <a:latin typeface="Work Sans" pitchFamily="2" charset="0"/>
                        </a:rPr>
                        <a:t>Dependencia</a:t>
                      </a:r>
                      <a:endParaRPr lang="es-CO" sz="1200" b="0">
                        <a:solidFill>
                          <a:schemeClr val="bg1"/>
                        </a:solidFill>
                        <a:effectLst/>
                        <a:latin typeface="Work Sans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4741" marR="170845" marT="170845" marB="170845" anchor="ctr"/>
                </a:tc>
                <a:extLst>
                  <a:ext uri="{0D108BD9-81ED-4DB2-BD59-A6C34878D82A}">
                    <a16:rowId xmlns:a16="http://schemas.microsoft.com/office/drawing/2014/main" val="788397714"/>
                  </a:ext>
                </a:extLst>
              </a:tr>
              <a:tr h="41975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s-ES" sz="1200" b="1">
                          <a:solidFill>
                            <a:srgbClr val="002060"/>
                          </a:solidFill>
                          <a:effectLst/>
                          <a:latin typeface="Work Sans" pitchFamily="2" charset="0"/>
                        </a:rPr>
                        <a:t>Maria Eugenia Arcila Zuluaga</a:t>
                      </a:r>
                      <a:endParaRPr lang="es-CO" sz="1200" b="1">
                        <a:solidFill>
                          <a:srgbClr val="002060"/>
                        </a:solidFill>
                        <a:effectLst/>
                        <a:latin typeface="Work Sans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4741" marR="148065" marT="148065" marB="14806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s-ES" sz="1200" b="0">
                          <a:solidFill>
                            <a:srgbClr val="002060"/>
                          </a:solidFill>
                          <a:effectLst/>
                          <a:latin typeface="Work Sans" pitchFamily="2" charset="0"/>
                        </a:rPr>
                        <a:t>Gerente GIT Aeroportuarios</a:t>
                      </a:r>
                      <a:endParaRPr lang="es-CO" sz="1200" b="0">
                        <a:solidFill>
                          <a:srgbClr val="002060"/>
                        </a:solidFill>
                        <a:effectLst/>
                        <a:latin typeface="Work Sans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4741" marR="148065" marT="148065" marB="14806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s-ES" sz="1200" b="0">
                          <a:solidFill>
                            <a:srgbClr val="002060"/>
                          </a:solidFill>
                          <a:effectLst/>
                          <a:latin typeface="Work Sans" pitchFamily="2" charset="0"/>
                        </a:rPr>
                        <a:t>VGC</a:t>
                      </a:r>
                      <a:endParaRPr lang="es-CO" sz="1200" b="0">
                        <a:solidFill>
                          <a:srgbClr val="002060"/>
                        </a:solidFill>
                        <a:effectLst/>
                        <a:latin typeface="Work Sans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4741" marR="148065" marT="148065" marB="148065" anchor="ctr"/>
                </a:tc>
                <a:extLst>
                  <a:ext uri="{0D108BD9-81ED-4DB2-BD59-A6C34878D82A}">
                    <a16:rowId xmlns:a16="http://schemas.microsoft.com/office/drawing/2014/main" val="2412967404"/>
                  </a:ext>
                </a:extLst>
              </a:tr>
              <a:tr h="41975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s-ES" sz="1200" b="1">
                          <a:solidFill>
                            <a:srgbClr val="002060"/>
                          </a:solidFill>
                          <a:effectLst/>
                          <a:latin typeface="Work Sans" pitchFamily="2" charset="0"/>
                        </a:rPr>
                        <a:t>Adriana Milena Acosta Forero</a:t>
                      </a:r>
                      <a:endParaRPr lang="es-CO" sz="1200" b="1">
                        <a:solidFill>
                          <a:srgbClr val="002060"/>
                        </a:solidFill>
                        <a:effectLst/>
                        <a:latin typeface="Work Sans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4741" marR="148065" marT="148065" marB="14806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s-ES" sz="1200" b="0">
                          <a:solidFill>
                            <a:srgbClr val="002060"/>
                          </a:solidFill>
                          <a:effectLst/>
                          <a:latin typeface="Work Sans" pitchFamily="2" charset="0"/>
                        </a:rPr>
                        <a:t>Gerente GIT Financiera 1</a:t>
                      </a:r>
                      <a:endParaRPr lang="es-CO" sz="1200" b="0">
                        <a:solidFill>
                          <a:srgbClr val="002060"/>
                        </a:solidFill>
                        <a:effectLst/>
                        <a:latin typeface="Work Sans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4741" marR="148065" marT="148065" marB="14806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s-ES" sz="1200" b="0">
                          <a:solidFill>
                            <a:srgbClr val="002060"/>
                          </a:solidFill>
                          <a:effectLst/>
                          <a:latin typeface="Work Sans" pitchFamily="2" charset="0"/>
                        </a:rPr>
                        <a:t>VGC</a:t>
                      </a:r>
                      <a:endParaRPr lang="es-CO" sz="1200" b="0">
                        <a:solidFill>
                          <a:srgbClr val="002060"/>
                        </a:solidFill>
                        <a:effectLst/>
                        <a:latin typeface="Work Sans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4741" marR="148065" marT="148065" marB="148065" anchor="ctr"/>
                </a:tc>
                <a:extLst>
                  <a:ext uri="{0D108BD9-81ED-4DB2-BD59-A6C34878D82A}">
                    <a16:rowId xmlns:a16="http://schemas.microsoft.com/office/drawing/2014/main" val="656200268"/>
                  </a:ext>
                </a:extLst>
              </a:tr>
              <a:tr h="41975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s-ES" sz="1200" b="1">
                          <a:solidFill>
                            <a:srgbClr val="002060"/>
                          </a:solidFill>
                          <a:effectLst/>
                          <a:latin typeface="Work Sans" pitchFamily="2" charset="0"/>
                        </a:rPr>
                        <a:t>Luis Enrique Moreno Barbosa</a:t>
                      </a:r>
                      <a:endParaRPr lang="es-CO" sz="1200" b="1">
                        <a:solidFill>
                          <a:srgbClr val="002060"/>
                        </a:solidFill>
                        <a:effectLst/>
                        <a:latin typeface="Work Sans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4741" marR="148065" marT="148065" marB="14806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s-ES" sz="1200" b="0">
                          <a:solidFill>
                            <a:srgbClr val="002060"/>
                          </a:solidFill>
                          <a:effectLst/>
                          <a:latin typeface="Work Sans" pitchFamily="2" charset="0"/>
                        </a:rPr>
                        <a:t>Experto G3-08</a:t>
                      </a:r>
                      <a:endParaRPr lang="es-CO" sz="1200" b="0">
                        <a:solidFill>
                          <a:srgbClr val="002060"/>
                        </a:solidFill>
                        <a:effectLst/>
                        <a:latin typeface="Work Sans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4741" marR="148065" marT="148065" marB="14806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s-ES" sz="1200" b="0">
                          <a:solidFill>
                            <a:srgbClr val="002060"/>
                          </a:solidFill>
                          <a:effectLst/>
                          <a:latin typeface="Work Sans" pitchFamily="2" charset="0"/>
                        </a:rPr>
                        <a:t>VGC</a:t>
                      </a:r>
                      <a:endParaRPr lang="es-CO" sz="1200" b="0">
                        <a:solidFill>
                          <a:srgbClr val="002060"/>
                        </a:solidFill>
                        <a:effectLst/>
                        <a:latin typeface="Work Sans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4741" marR="148065" marT="148065" marB="148065" anchor="ctr"/>
                </a:tc>
                <a:extLst>
                  <a:ext uri="{0D108BD9-81ED-4DB2-BD59-A6C34878D82A}">
                    <a16:rowId xmlns:a16="http://schemas.microsoft.com/office/drawing/2014/main" val="4162740613"/>
                  </a:ext>
                </a:extLst>
              </a:tr>
              <a:tr h="53383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s-ES" sz="1200" b="1">
                          <a:solidFill>
                            <a:srgbClr val="002060"/>
                          </a:solidFill>
                          <a:effectLst/>
                          <a:latin typeface="Work Sans" pitchFamily="2" charset="0"/>
                        </a:rPr>
                        <a:t>Edgardo Garciaherreros Barrera</a:t>
                      </a:r>
                      <a:endParaRPr lang="es-CO" sz="1200" b="1">
                        <a:solidFill>
                          <a:srgbClr val="002060"/>
                        </a:solidFill>
                        <a:effectLst/>
                        <a:latin typeface="Work Sans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4741" marR="148065" marT="148065" marB="14806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s-ES" sz="1200" b="0">
                          <a:solidFill>
                            <a:srgbClr val="002060"/>
                          </a:solidFill>
                          <a:effectLst/>
                          <a:latin typeface="Work Sans" pitchFamily="2" charset="0"/>
                        </a:rPr>
                        <a:t>Experto G3-08</a:t>
                      </a:r>
                      <a:endParaRPr lang="es-CO" sz="1200" b="0">
                        <a:solidFill>
                          <a:srgbClr val="002060"/>
                        </a:solidFill>
                        <a:effectLst/>
                        <a:latin typeface="Work Sans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4741" marR="148065" marT="148065" marB="14806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s-ES" sz="1200" b="0">
                          <a:solidFill>
                            <a:srgbClr val="002060"/>
                          </a:solidFill>
                          <a:effectLst/>
                          <a:latin typeface="Work Sans" pitchFamily="2" charset="0"/>
                        </a:rPr>
                        <a:t>VGC</a:t>
                      </a:r>
                      <a:endParaRPr lang="es-CO" sz="1200" b="0">
                        <a:solidFill>
                          <a:srgbClr val="002060"/>
                        </a:solidFill>
                        <a:effectLst/>
                        <a:latin typeface="Work Sans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84741" marR="148065" marT="148065" marB="148065" anchor="ctr"/>
                </a:tc>
                <a:extLst>
                  <a:ext uri="{0D108BD9-81ED-4DB2-BD59-A6C34878D82A}">
                    <a16:rowId xmlns:a16="http://schemas.microsoft.com/office/drawing/2014/main" val="2926435047"/>
                  </a:ext>
                </a:extLst>
              </a:tr>
            </a:tbl>
          </a:graphicData>
        </a:graphic>
      </p:graphicFrame>
      <p:sp>
        <p:nvSpPr>
          <p:cNvPr id="6" name="CuadroTexto 5">
            <a:extLst>
              <a:ext uri="{FF2B5EF4-FFF2-40B4-BE49-F238E27FC236}">
                <a16:creationId xmlns:a16="http://schemas.microsoft.com/office/drawing/2014/main" id="{A46E824F-567E-4284-A060-E4B42A21C247}"/>
              </a:ext>
            </a:extLst>
          </p:cNvPr>
          <p:cNvSpPr txBox="1"/>
          <p:nvPr/>
        </p:nvSpPr>
        <p:spPr>
          <a:xfrm>
            <a:off x="14131" y="0"/>
            <a:ext cx="4572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O" sz="1600" b="1" i="1" u="sng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rlin Sans FB Demi" panose="020E0802020502020306" pitchFamily="34" charset="0"/>
              </a:rPr>
              <a:t>B</a:t>
            </a:r>
            <a:r>
              <a:rPr lang="es-CO" sz="1200" b="1" i="1" u="sng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rlin Sans FB Demi" panose="020E0802020502020306" pitchFamily="34" charset="0"/>
              </a:rPr>
              <a:t>ANCO DE </a:t>
            </a:r>
            <a:r>
              <a:rPr lang="es-CO" sz="1800" b="1" i="1" u="sng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rlin Sans FB Demi" panose="020E0802020502020306" pitchFamily="34" charset="0"/>
              </a:rPr>
              <a:t>E</a:t>
            </a:r>
            <a:r>
              <a:rPr lang="es-CO" sz="1200" b="1" i="1" u="sng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rlin Sans FB Demi" panose="020E0802020502020306" pitchFamily="34" charset="0"/>
              </a:rPr>
              <a:t>XPERIENCIAS </a:t>
            </a:r>
            <a:r>
              <a:rPr lang="es-CO" sz="1600" b="1" i="1" u="sng">
                <a:solidFill>
                  <a:srgbClr val="FF993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rlin Sans FB Demi" panose="020E0802020502020306" pitchFamily="34" charset="0"/>
              </a:rPr>
              <a:t>ANI</a:t>
            </a:r>
            <a:endParaRPr lang="es-CO" sz="1200" b="1" i="1" u="sng">
              <a:solidFill>
                <a:srgbClr val="FF993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erlin Sans FB Demi" panose="020E0802020502020306" pitchFamily="34" charset="0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" name="Google Shape;209;p27"/>
          <p:cNvSpPr txBox="1">
            <a:spLocks noGrp="1"/>
          </p:cNvSpPr>
          <p:nvPr>
            <p:ph type="title"/>
          </p:nvPr>
        </p:nvSpPr>
        <p:spPr>
          <a:xfrm>
            <a:off x="2300131" y="233304"/>
            <a:ext cx="4307700" cy="6401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Work Sans SemiBold"/>
              <a:buNone/>
            </a:pPr>
            <a:r>
              <a:rPr lang="es-ES" b="1">
                <a:solidFill>
                  <a:srgbClr val="002060"/>
                </a:solidFill>
                <a:latin typeface="Berlin Sans FB Demi" panose="020E0802020502020306" pitchFamily="34" charset="0"/>
              </a:rPr>
              <a:t>¿Error o acierto?</a:t>
            </a:r>
            <a:endParaRPr b="1">
              <a:solidFill>
                <a:srgbClr val="002060"/>
              </a:solidFill>
              <a:latin typeface="Berlin Sans FB Demi" panose="020E0802020502020306" pitchFamily="34" charset="0"/>
            </a:endParaRPr>
          </a:p>
        </p:txBody>
      </p:sp>
      <p:sp>
        <p:nvSpPr>
          <p:cNvPr id="4" name="Google Shape;208;p27">
            <a:extLst>
              <a:ext uri="{FF2B5EF4-FFF2-40B4-BE49-F238E27FC236}">
                <a16:creationId xmlns:a16="http://schemas.microsoft.com/office/drawing/2014/main" id="{C9B814F4-B0E6-9B4E-AAA4-EB499F3B76C4}"/>
              </a:ext>
            </a:extLst>
          </p:cNvPr>
          <p:cNvSpPr txBox="1">
            <a:spLocks/>
          </p:cNvSpPr>
          <p:nvPr/>
        </p:nvSpPr>
        <p:spPr>
          <a:xfrm>
            <a:off x="377025" y="1106806"/>
            <a:ext cx="8153912" cy="18429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22860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66CD"/>
              </a:buClr>
              <a:buSzPts val="1100"/>
              <a:buFont typeface="Arial"/>
              <a:buNone/>
              <a:defRPr sz="1100" b="0" i="0" u="none" strike="noStrike" cap="none">
                <a:solidFill>
                  <a:srgbClr val="0066CD"/>
                </a:solidFill>
                <a:latin typeface="Work Sans"/>
                <a:ea typeface="Work Sans"/>
                <a:cs typeface="Work Sans"/>
                <a:sym typeface="Work Sans"/>
              </a:defRPr>
            </a:lvl1pPr>
            <a:lvl2pPr marL="914400" marR="0" lvl="1" indent="-2984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66CD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rgbClr val="0066CD"/>
                </a:solidFill>
                <a:latin typeface="Work Sans"/>
                <a:ea typeface="Work Sans"/>
                <a:cs typeface="Work Sans"/>
                <a:sym typeface="Work Sans"/>
              </a:defRPr>
            </a:lvl2pPr>
            <a:lvl3pPr marL="1371600" marR="0" lvl="2" indent="-2984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66CD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rgbClr val="0066CD"/>
                </a:solidFill>
                <a:latin typeface="Work Sans"/>
                <a:ea typeface="Work Sans"/>
                <a:cs typeface="Work Sans"/>
                <a:sym typeface="Work Sans"/>
              </a:defRPr>
            </a:lvl3pPr>
            <a:lvl4pPr marL="1828800" marR="0" lvl="3" indent="-2984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66CD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rgbClr val="0066CD"/>
                </a:solidFill>
                <a:latin typeface="Work Sans"/>
                <a:ea typeface="Work Sans"/>
                <a:cs typeface="Work Sans"/>
                <a:sym typeface="Work Sans"/>
              </a:defRPr>
            </a:lvl4pPr>
            <a:lvl5pPr marL="2286000" marR="0" lvl="4" indent="-2984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66CD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rgbClr val="0066CD"/>
                </a:solidFill>
                <a:latin typeface="Work Sans"/>
                <a:ea typeface="Work Sans"/>
                <a:cs typeface="Work Sans"/>
                <a:sym typeface="Work Sans"/>
              </a:defRPr>
            </a:lvl5pPr>
            <a:lvl6pPr marL="2743200" marR="0" lvl="5" indent="-2984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66CD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rgbClr val="0066CD"/>
                </a:solidFill>
                <a:latin typeface="Work Sans"/>
                <a:ea typeface="Work Sans"/>
                <a:cs typeface="Work Sans"/>
                <a:sym typeface="Work Sans"/>
              </a:defRPr>
            </a:lvl6pPr>
            <a:lvl7pPr marL="3200400" marR="0" lvl="6" indent="-2984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66CD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rgbClr val="0066CD"/>
                </a:solidFill>
                <a:latin typeface="Work Sans"/>
                <a:ea typeface="Work Sans"/>
                <a:cs typeface="Work Sans"/>
                <a:sym typeface="Work Sans"/>
              </a:defRPr>
            </a:lvl7pPr>
            <a:lvl8pPr marL="3657600" marR="0" lvl="7" indent="-2984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66CD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rgbClr val="0066CD"/>
                </a:solidFill>
                <a:latin typeface="Work Sans"/>
                <a:ea typeface="Work Sans"/>
                <a:cs typeface="Work Sans"/>
                <a:sym typeface="Work Sans"/>
              </a:defRPr>
            </a:lvl8pPr>
            <a:lvl9pPr marL="4114800" marR="0" lvl="8" indent="-2984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66CD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rgbClr val="0066CD"/>
                </a:solidFill>
                <a:latin typeface="Work Sans"/>
                <a:ea typeface="Work Sans"/>
                <a:cs typeface="Work Sans"/>
                <a:sym typeface="Work Sans"/>
              </a:defRPr>
            </a:lvl9pPr>
          </a:lstStyle>
          <a:p>
            <a:pPr marL="311150" indent="-171450" algn="just">
              <a:buClr>
                <a:srgbClr val="0054BC"/>
              </a:buClr>
              <a:buSzPts val="1400"/>
              <a:buFont typeface="Arial" panose="020B0604020202020204" pitchFamily="34" charset="0"/>
              <a:buChar char="•"/>
            </a:pPr>
            <a:r>
              <a:rPr lang="es-MX" sz="1600"/>
              <a:t>En el desarrollo de la misión de la Entidad “Desarrollamos infraestructura de transporte nacional a través de Asociaciones Público Privadas, para generar conectividad y servicio de calidad. Nuestra labor la hacemos mediante una </a:t>
            </a:r>
            <a:r>
              <a:rPr lang="es-MX" sz="1600" b="1"/>
              <a:t>gestión eficiente, técnica, transparente y confiable; promoviendo el trabajo en equipo y el crecimiento personal y profesional de nuestro talento humano</a:t>
            </a:r>
            <a:r>
              <a:rPr lang="es-MX" sz="1600"/>
              <a:t>”, </a:t>
            </a:r>
            <a:r>
              <a:rPr lang="es-MX" sz="1600" b="1" u="sng">
                <a:solidFill>
                  <a:srgbClr val="002060"/>
                </a:solidFill>
              </a:rPr>
              <a:t>nos enfrentamos permanentemente a la toma de decisiones con resultados positivos o no esperados</a:t>
            </a:r>
            <a:r>
              <a:rPr lang="es-MX" sz="1600" b="1" u="sng"/>
              <a:t>. 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06A56904-DDA6-3A48-A4C8-B4A93CDA13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773084" y="3220605"/>
            <a:ext cx="5919019" cy="1922895"/>
          </a:xfrm>
          <a:prstGeom prst="rect">
            <a:avLst/>
          </a:prstGeom>
        </p:spPr>
      </p:pic>
      <p:pic>
        <p:nvPicPr>
          <p:cNvPr id="8" name="Imagen 7">
            <a:extLst>
              <a:ext uri="{FF2B5EF4-FFF2-40B4-BE49-F238E27FC236}">
                <a16:creationId xmlns:a16="http://schemas.microsoft.com/office/drawing/2014/main" id="{39E538AB-5D42-44FE-83AB-A0F0745EC46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89367" y="3220605"/>
            <a:ext cx="5795580" cy="1922895"/>
          </a:xfrm>
          <a:prstGeom prst="rect">
            <a:avLst/>
          </a:prstGeom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6DD15F93-0BA2-42B6-B58E-F98F336BCABF}"/>
              </a:ext>
            </a:extLst>
          </p:cNvPr>
          <p:cNvSpPr txBox="1"/>
          <p:nvPr/>
        </p:nvSpPr>
        <p:spPr>
          <a:xfrm>
            <a:off x="14131" y="0"/>
            <a:ext cx="4572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O" sz="1600" b="1" i="1" u="sng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rlin Sans FB Demi" panose="020E0802020502020306" pitchFamily="34" charset="0"/>
              </a:rPr>
              <a:t>B</a:t>
            </a:r>
            <a:r>
              <a:rPr lang="es-CO" sz="1200" b="1" i="1" u="sng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rlin Sans FB Demi" panose="020E0802020502020306" pitchFamily="34" charset="0"/>
              </a:rPr>
              <a:t>ANCO DE </a:t>
            </a:r>
            <a:r>
              <a:rPr lang="es-CO" sz="1800" b="1" i="1" u="sng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rlin Sans FB Demi" panose="020E0802020502020306" pitchFamily="34" charset="0"/>
              </a:rPr>
              <a:t>E</a:t>
            </a:r>
            <a:r>
              <a:rPr lang="es-CO" sz="1200" b="1" i="1" u="sng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rlin Sans FB Demi" panose="020E0802020502020306" pitchFamily="34" charset="0"/>
              </a:rPr>
              <a:t>XPERIENCIAS </a:t>
            </a:r>
            <a:r>
              <a:rPr lang="es-CO" sz="1600" b="1" i="1" u="sng">
                <a:solidFill>
                  <a:srgbClr val="FF993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rlin Sans FB Demi" panose="020E0802020502020306" pitchFamily="34" charset="0"/>
              </a:rPr>
              <a:t>ANI</a:t>
            </a:r>
            <a:endParaRPr lang="es-CO" sz="1200" b="1" i="1" u="sng">
              <a:solidFill>
                <a:srgbClr val="FF993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erlin Sans FB Demi" panose="020E0802020502020306" pitchFamily="34" charset="0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80529D87-A251-42BE-B636-03A676DB1D47}"/>
              </a:ext>
            </a:extLst>
          </p:cNvPr>
          <p:cNvSpPr txBox="1">
            <a:spLocks/>
          </p:cNvSpPr>
          <p:nvPr/>
        </p:nvSpPr>
        <p:spPr>
          <a:xfrm>
            <a:off x="266848" y="386374"/>
            <a:ext cx="6860399" cy="6081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lnSpc>
                <a:spcPct val="90000"/>
              </a:lnSpc>
              <a:buClr>
                <a:srgbClr val="FFFFFF"/>
              </a:buClr>
              <a:buSzPts val="1400"/>
              <a:buFont typeface="Work Sans SemiBold"/>
              <a:buNone/>
              <a:defRPr sz="2000" b="1">
                <a:solidFill>
                  <a:schemeClr val="accent6">
                    <a:lumMod val="75000"/>
                  </a:schemeClr>
                </a:solidFill>
                <a:latin typeface="Work Sans Light" panose="00000400000000000000" pitchFamily="2" charset="0"/>
                <a:ea typeface="Work Sans Light"/>
                <a:sym typeface="Work Sans Light"/>
              </a:defRPr>
            </a:lvl1pPr>
            <a:lvl2pPr>
              <a:buClr>
                <a:srgbClr val="0054BC"/>
              </a:buClr>
              <a:buSzPts val="1100"/>
              <a:buNone/>
              <a:defRPr>
                <a:solidFill>
                  <a:srgbClr val="0054BC"/>
                </a:solidFill>
              </a:defRPr>
            </a:lvl2pPr>
            <a:lvl3pPr>
              <a:buClr>
                <a:srgbClr val="0054BC"/>
              </a:buClr>
              <a:buSzPts val="1100"/>
              <a:buNone/>
              <a:defRPr>
                <a:solidFill>
                  <a:srgbClr val="0054BC"/>
                </a:solidFill>
              </a:defRPr>
            </a:lvl3pPr>
            <a:lvl4pPr>
              <a:buClr>
                <a:srgbClr val="0054BC"/>
              </a:buClr>
              <a:buSzPts val="1100"/>
              <a:buNone/>
              <a:defRPr>
                <a:solidFill>
                  <a:srgbClr val="0054BC"/>
                </a:solidFill>
              </a:defRPr>
            </a:lvl4pPr>
            <a:lvl5pPr>
              <a:buClr>
                <a:srgbClr val="0054BC"/>
              </a:buClr>
              <a:buSzPts val="1100"/>
              <a:buNone/>
              <a:defRPr>
                <a:solidFill>
                  <a:srgbClr val="0054BC"/>
                </a:solidFill>
              </a:defRPr>
            </a:lvl5pPr>
            <a:lvl6pPr>
              <a:buClr>
                <a:srgbClr val="0054BC"/>
              </a:buClr>
              <a:buSzPts val="1100"/>
              <a:buNone/>
              <a:defRPr>
                <a:solidFill>
                  <a:srgbClr val="0054BC"/>
                </a:solidFill>
              </a:defRPr>
            </a:lvl6pPr>
            <a:lvl7pPr>
              <a:buClr>
                <a:srgbClr val="0054BC"/>
              </a:buClr>
              <a:buSzPts val="1100"/>
              <a:buNone/>
              <a:defRPr>
                <a:solidFill>
                  <a:srgbClr val="0054BC"/>
                </a:solidFill>
              </a:defRPr>
            </a:lvl7pPr>
            <a:lvl8pPr>
              <a:buClr>
                <a:srgbClr val="0054BC"/>
              </a:buClr>
              <a:buSzPts val="1100"/>
              <a:buNone/>
              <a:defRPr>
                <a:solidFill>
                  <a:srgbClr val="0054BC"/>
                </a:solidFill>
              </a:defRPr>
            </a:lvl8pPr>
            <a:lvl9pPr>
              <a:buClr>
                <a:srgbClr val="0054BC"/>
              </a:buClr>
              <a:buSzPts val="1100"/>
              <a:buNone/>
              <a:defRPr>
                <a:solidFill>
                  <a:srgbClr val="0054BC"/>
                </a:solidFill>
              </a:defRPr>
            </a:lvl9pPr>
          </a:lstStyle>
          <a:p>
            <a:r>
              <a:rPr lang="es-CO" sz="3000">
                <a:solidFill>
                  <a:srgbClr val="002060"/>
                </a:solidFill>
                <a:latin typeface="Berlin Sans FB Demi" panose="020E0802020502020306" pitchFamily="34" charset="0"/>
              </a:rPr>
              <a:t>Descripción general el proyecto</a:t>
            </a:r>
          </a:p>
        </p:txBody>
      </p:sp>
      <p:sp>
        <p:nvSpPr>
          <p:cNvPr id="5" name="Google Shape;157;p24">
            <a:extLst>
              <a:ext uri="{FF2B5EF4-FFF2-40B4-BE49-F238E27FC236}">
                <a16:creationId xmlns:a16="http://schemas.microsoft.com/office/drawing/2014/main" id="{32E097C4-4774-4784-B311-CAEF0783744B}"/>
              </a:ext>
            </a:extLst>
          </p:cNvPr>
          <p:cNvSpPr txBox="1">
            <a:spLocks/>
          </p:cNvSpPr>
          <p:nvPr/>
        </p:nvSpPr>
        <p:spPr>
          <a:xfrm>
            <a:off x="-43319" y="4021242"/>
            <a:ext cx="2832562" cy="823649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68575" tIns="34275" rIns="68575" bIns="34275" rtlCol="0" anchor="ctr" anchorCtr="0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85750" indent="-285750" algn="l">
              <a:spcBef>
                <a:spcPts val="0"/>
              </a:spcBef>
              <a:buClr>
                <a:srgbClr val="FFFFFF"/>
              </a:buClr>
              <a:buSzPts val="1400"/>
              <a:buFont typeface="Wingdings" panose="05000000000000000000" pitchFamily="2" charset="2"/>
              <a:buChar char="q"/>
            </a:pPr>
            <a:endParaRPr lang="es-ES_tradnl" sz="1400">
              <a:solidFill>
                <a:srgbClr val="2449B3"/>
              </a:solidFill>
              <a:latin typeface="Work Sans SemiBold"/>
              <a:cs typeface="Work Sans Light"/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4BD725BA-A9EB-462B-8E19-87614CB902E4}"/>
              </a:ext>
            </a:extLst>
          </p:cNvPr>
          <p:cNvSpPr/>
          <p:nvPr/>
        </p:nvSpPr>
        <p:spPr>
          <a:xfrm>
            <a:off x="-445523" y="607704"/>
            <a:ext cx="2085764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FFFFFF"/>
              </a:buClr>
              <a:buSzPts val="1400"/>
            </a:pPr>
            <a:endParaRPr lang="es-ES_tradnl" b="1">
              <a:solidFill>
                <a:srgbClr val="2D6DF4"/>
              </a:solidFill>
              <a:latin typeface="Work Sans SemiBold"/>
              <a:cs typeface="Work Sans SemiBold"/>
            </a:endParaRPr>
          </a:p>
          <a:p>
            <a:pPr>
              <a:buClr>
                <a:srgbClr val="FFFFFF"/>
              </a:buClr>
              <a:buSzPts val="1400"/>
            </a:pPr>
            <a:endParaRPr lang="es-ES_tradnl" b="1">
              <a:solidFill>
                <a:srgbClr val="2D6DF4"/>
              </a:solidFill>
              <a:latin typeface="Work Sans SemiBold"/>
              <a:cs typeface="Work Sans SemiBold"/>
            </a:endParaRPr>
          </a:p>
          <a:p>
            <a:pPr>
              <a:buClr>
                <a:srgbClr val="FFFFFF"/>
              </a:buClr>
              <a:buSzPts val="1400"/>
            </a:pPr>
            <a:endParaRPr lang="es-ES_tradnl" b="1">
              <a:solidFill>
                <a:srgbClr val="2D6DF4"/>
              </a:solidFill>
              <a:latin typeface="Work Sans SemiBold"/>
              <a:cs typeface="Work Sans SemiBold"/>
            </a:endParaRPr>
          </a:p>
          <a:p>
            <a:pPr>
              <a:buClr>
                <a:srgbClr val="FFFFFF"/>
              </a:buClr>
              <a:buSzPts val="1400"/>
            </a:pPr>
            <a:endParaRPr lang="es-ES_tradnl" b="1">
              <a:solidFill>
                <a:srgbClr val="2D6DF4"/>
              </a:solidFill>
              <a:latin typeface="Work Sans SemiBold"/>
              <a:cs typeface="Work Sans SemiBold"/>
            </a:endParaRPr>
          </a:p>
          <a:p>
            <a:pPr>
              <a:buClr>
                <a:srgbClr val="FFFFFF"/>
              </a:buClr>
              <a:buSzPts val="1400"/>
            </a:pPr>
            <a:endParaRPr lang="es-ES_tradnl" b="1">
              <a:solidFill>
                <a:srgbClr val="2D6DF4"/>
              </a:solidFill>
              <a:latin typeface="Work Sans SemiBold"/>
              <a:cs typeface="Work Sans SemiBold"/>
            </a:endParaRPr>
          </a:p>
        </p:txBody>
      </p:sp>
      <p:pic>
        <p:nvPicPr>
          <p:cNvPr id="8" name="Imagen 7" descr="011_Mesa de trabajo 1.png">
            <a:extLst>
              <a:ext uri="{FF2B5EF4-FFF2-40B4-BE49-F238E27FC236}">
                <a16:creationId xmlns:a16="http://schemas.microsoft.com/office/drawing/2014/main" id="{364D8EA3-08C4-4CCC-BCBB-B188DC3AFBA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2877" y="1259787"/>
            <a:ext cx="1006682" cy="823649"/>
          </a:xfrm>
          <a:prstGeom prst="rect">
            <a:avLst/>
          </a:prstGeom>
        </p:spPr>
      </p:pic>
      <p:pic>
        <p:nvPicPr>
          <p:cNvPr id="9" name="Imagen 8" descr="010_Mesa de trabajo 1.png">
            <a:extLst>
              <a:ext uri="{FF2B5EF4-FFF2-40B4-BE49-F238E27FC236}">
                <a16:creationId xmlns:a16="http://schemas.microsoft.com/office/drawing/2014/main" id="{7A5C1546-3E2F-4D9F-8408-2B23CD588D9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4225" y="3549138"/>
            <a:ext cx="1205916" cy="986658"/>
          </a:xfrm>
          <a:prstGeom prst="rect">
            <a:avLst/>
          </a:prstGeom>
        </p:spPr>
      </p:pic>
      <p:pic>
        <p:nvPicPr>
          <p:cNvPr id="11" name="Imagen 10" descr="009_Mesa de trabajo 1.png">
            <a:extLst>
              <a:ext uri="{FF2B5EF4-FFF2-40B4-BE49-F238E27FC236}">
                <a16:creationId xmlns:a16="http://schemas.microsoft.com/office/drawing/2014/main" id="{A2F32BCD-C310-40D7-B369-7700EC1CCDE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88895" y="1784438"/>
            <a:ext cx="992785" cy="1070146"/>
          </a:xfrm>
          <a:prstGeom prst="rect">
            <a:avLst/>
          </a:prstGeom>
        </p:spPr>
      </p:pic>
      <p:pic>
        <p:nvPicPr>
          <p:cNvPr id="12" name="Imagen 11" descr="012_Mesa de trabajo 1.png">
            <a:extLst>
              <a:ext uri="{FF2B5EF4-FFF2-40B4-BE49-F238E27FC236}">
                <a16:creationId xmlns:a16="http://schemas.microsoft.com/office/drawing/2014/main" id="{591961DE-53E1-4085-B140-F84F7C2063D3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3261" y="2402398"/>
            <a:ext cx="1205915" cy="1299882"/>
          </a:xfrm>
          <a:prstGeom prst="rect">
            <a:avLst/>
          </a:prstGeom>
        </p:spPr>
      </p:pic>
      <p:sp>
        <p:nvSpPr>
          <p:cNvPr id="13" name="Rectángulo 12">
            <a:extLst>
              <a:ext uri="{FF2B5EF4-FFF2-40B4-BE49-F238E27FC236}">
                <a16:creationId xmlns:a16="http://schemas.microsoft.com/office/drawing/2014/main" id="{67DE5F4F-0FC6-4FC1-B4FD-15335831096A}"/>
              </a:ext>
            </a:extLst>
          </p:cNvPr>
          <p:cNvSpPr/>
          <p:nvPr/>
        </p:nvSpPr>
        <p:spPr>
          <a:xfrm>
            <a:off x="3302055" y="1341579"/>
            <a:ext cx="5214551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buClr>
                <a:srgbClr val="FFFFFF"/>
              </a:buClr>
              <a:buSzPts val="1400"/>
            </a:pPr>
            <a:r>
              <a:rPr lang="es-MX" sz="1600">
                <a:solidFill>
                  <a:schemeClr val="bg2">
                    <a:lumMod val="75000"/>
                  </a:schemeClr>
                </a:solidFill>
                <a:latin typeface="Work Sans"/>
                <a:sym typeface="Work Sans"/>
              </a:rPr>
              <a:t>El proyecto va dirigido a </a:t>
            </a:r>
            <a:r>
              <a:rPr lang="es-MX" sz="1600" b="1">
                <a:solidFill>
                  <a:srgbClr val="002060"/>
                </a:solidFill>
                <a:latin typeface="Work Sans"/>
                <a:sym typeface="Work Sans"/>
              </a:rPr>
              <a:t>diseñar una herramienta </a:t>
            </a:r>
            <a:r>
              <a:rPr lang="es-MX" sz="1600">
                <a:solidFill>
                  <a:schemeClr val="bg2">
                    <a:lumMod val="75000"/>
                  </a:schemeClr>
                </a:solidFill>
                <a:latin typeface="Work Sans"/>
                <a:sym typeface="Work Sans"/>
              </a:rPr>
              <a:t>para generar información y transferencia del conocimiento que permite </a:t>
            </a:r>
            <a:r>
              <a:rPr lang="es-MX" sz="1600" b="1" u="sng">
                <a:solidFill>
                  <a:schemeClr val="bg2">
                    <a:lumMod val="75000"/>
                  </a:schemeClr>
                </a:solidFill>
                <a:latin typeface="Work Sans"/>
                <a:sym typeface="Work Sans"/>
              </a:rPr>
              <a:t>socializar y consultar </a:t>
            </a:r>
            <a:r>
              <a:rPr lang="es-MX" sz="1600" u="sng">
                <a:solidFill>
                  <a:schemeClr val="bg2">
                    <a:lumMod val="75000"/>
                  </a:schemeClr>
                </a:solidFill>
                <a:latin typeface="Work Sans"/>
                <a:sym typeface="Work Sans"/>
              </a:rPr>
              <a:t> los </a:t>
            </a:r>
            <a:r>
              <a:rPr lang="es-MX" sz="1600" b="1" u="sng">
                <a:solidFill>
                  <a:schemeClr val="bg2">
                    <a:lumMod val="75000"/>
                  </a:schemeClr>
                </a:solidFill>
                <a:latin typeface="Work Sans"/>
                <a:sym typeface="Work Sans"/>
              </a:rPr>
              <a:t>aprendizajes </a:t>
            </a:r>
            <a:r>
              <a:rPr lang="es-MX" sz="1600" u="sng">
                <a:solidFill>
                  <a:schemeClr val="bg2">
                    <a:lumMod val="75000"/>
                  </a:schemeClr>
                </a:solidFill>
                <a:latin typeface="Work Sans"/>
                <a:sym typeface="Work Sans"/>
              </a:rPr>
              <a:t>generados por la Entidad </a:t>
            </a:r>
            <a:r>
              <a:rPr lang="es-MX" sz="1600">
                <a:solidFill>
                  <a:schemeClr val="bg2">
                    <a:lumMod val="75000"/>
                  </a:schemeClr>
                </a:solidFill>
                <a:latin typeface="Work Sans"/>
                <a:sym typeface="Work Sans"/>
              </a:rPr>
              <a:t>y que mediante la </a:t>
            </a:r>
            <a:r>
              <a:rPr lang="es-MX" sz="1600" b="1" u="sng">
                <a:solidFill>
                  <a:schemeClr val="bg2">
                    <a:lumMod val="75000"/>
                  </a:schemeClr>
                </a:solidFill>
                <a:latin typeface="Work Sans"/>
                <a:sym typeface="Work Sans"/>
              </a:rPr>
              <a:t>documentación de las actuaciones </a:t>
            </a:r>
            <a:r>
              <a:rPr lang="es-MX" sz="1600">
                <a:solidFill>
                  <a:schemeClr val="bg2">
                    <a:lumMod val="75000"/>
                  </a:schemeClr>
                </a:solidFill>
                <a:latin typeface="Work Sans"/>
                <a:sym typeface="Work Sans"/>
              </a:rPr>
              <a:t>en el marco de los contratos de concesión </a:t>
            </a:r>
            <a:r>
              <a:rPr lang="es-MX" sz="1600" u="sng">
                <a:solidFill>
                  <a:schemeClr val="bg2">
                    <a:lumMod val="75000"/>
                  </a:schemeClr>
                </a:solidFill>
                <a:latin typeface="Work Sans"/>
                <a:sym typeface="Work Sans"/>
              </a:rPr>
              <a:t>puedan tomarse como referencia en situaciones similares de </a:t>
            </a:r>
            <a:r>
              <a:rPr lang="es-MX" sz="1600" b="1" u="sng">
                <a:solidFill>
                  <a:schemeClr val="bg2">
                    <a:lumMod val="75000"/>
                  </a:schemeClr>
                </a:solidFill>
                <a:latin typeface="Work Sans"/>
                <a:sym typeface="Work Sans"/>
              </a:rPr>
              <a:t>otros proyectos</a:t>
            </a:r>
            <a:r>
              <a:rPr lang="es-MX" sz="1600" u="sng">
                <a:solidFill>
                  <a:schemeClr val="bg2">
                    <a:lumMod val="75000"/>
                  </a:schemeClr>
                </a:solidFill>
                <a:latin typeface="Work Sans"/>
                <a:sym typeface="Work Sans"/>
              </a:rPr>
              <a:t> </a:t>
            </a:r>
            <a:r>
              <a:rPr lang="es-MX" sz="1600">
                <a:solidFill>
                  <a:schemeClr val="bg2">
                    <a:lumMod val="75000"/>
                  </a:schemeClr>
                </a:solidFill>
                <a:latin typeface="Work Sans"/>
                <a:sym typeface="Work Sans"/>
              </a:rPr>
              <a:t>para </a:t>
            </a:r>
            <a:r>
              <a:rPr lang="es-MX" sz="1600" u="sng">
                <a:solidFill>
                  <a:schemeClr val="bg2">
                    <a:lumMod val="75000"/>
                  </a:schemeClr>
                </a:solidFill>
                <a:latin typeface="Work Sans"/>
                <a:sym typeface="Work Sans"/>
              </a:rPr>
              <a:t>fortalecer </a:t>
            </a:r>
            <a:r>
              <a:rPr lang="es-MX" sz="1600">
                <a:solidFill>
                  <a:schemeClr val="bg2">
                    <a:lumMod val="75000"/>
                  </a:schemeClr>
                </a:solidFill>
                <a:latin typeface="Work Sans"/>
                <a:sym typeface="Work Sans"/>
              </a:rPr>
              <a:t>la </a:t>
            </a:r>
            <a:r>
              <a:rPr lang="es-MX" sz="1600" b="1" u="sng">
                <a:solidFill>
                  <a:schemeClr val="bg2">
                    <a:lumMod val="75000"/>
                  </a:schemeClr>
                </a:solidFill>
                <a:latin typeface="Work Sans"/>
                <a:sym typeface="Work Sans"/>
              </a:rPr>
              <a:t>memoria institucional</a:t>
            </a:r>
            <a:r>
              <a:rPr lang="es-MX" sz="1600">
                <a:solidFill>
                  <a:schemeClr val="bg2">
                    <a:lumMod val="75000"/>
                  </a:schemeClr>
                </a:solidFill>
                <a:latin typeface="Work Sans"/>
                <a:sym typeface="Work Sans"/>
              </a:rPr>
              <a:t>, agilizar la </a:t>
            </a:r>
            <a:r>
              <a:rPr lang="es-MX" sz="1600" b="1" u="sng">
                <a:solidFill>
                  <a:schemeClr val="bg2">
                    <a:lumMod val="75000"/>
                  </a:schemeClr>
                </a:solidFill>
                <a:latin typeface="Work Sans"/>
                <a:sym typeface="Work Sans"/>
              </a:rPr>
              <a:t>gestión y la toma de decisiones </a:t>
            </a:r>
            <a:r>
              <a:rPr lang="es-MX" sz="1600">
                <a:solidFill>
                  <a:schemeClr val="bg2">
                    <a:lumMod val="75000"/>
                  </a:schemeClr>
                </a:solidFill>
                <a:latin typeface="Work Sans"/>
                <a:sym typeface="Work Sans"/>
              </a:rPr>
              <a:t>de la entidad.</a:t>
            </a: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2EB97346-80E5-4FD8-B93F-1268D2B07ADF}"/>
              </a:ext>
            </a:extLst>
          </p:cNvPr>
          <p:cNvSpPr txBox="1"/>
          <p:nvPr/>
        </p:nvSpPr>
        <p:spPr>
          <a:xfrm>
            <a:off x="14131" y="0"/>
            <a:ext cx="4572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O" sz="1600" b="1" i="1" u="sng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rlin Sans FB Demi" panose="020E0802020502020306" pitchFamily="34" charset="0"/>
              </a:rPr>
              <a:t>B</a:t>
            </a:r>
            <a:r>
              <a:rPr lang="es-CO" sz="1200" b="1" i="1" u="sng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rlin Sans FB Demi" panose="020E0802020502020306" pitchFamily="34" charset="0"/>
              </a:rPr>
              <a:t>ANCO DE </a:t>
            </a:r>
            <a:r>
              <a:rPr lang="es-CO" sz="1800" b="1" i="1" u="sng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rlin Sans FB Demi" panose="020E0802020502020306" pitchFamily="34" charset="0"/>
              </a:rPr>
              <a:t>E</a:t>
            </a:r>
            <a:r>
              <a:rPr lang="es-CO" sz="1200" b="1" i="1" u="sng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rlin Sans FB Demi" panose="020E0802020502020306" pitchFamily="34" charset="0"/>
              </a:rPr>
              <a:t>XPERIENCIAS </a:t>
            </a:r>
            <a:r>
              <a:rPr lang="es-CO" sz="1600" b="1" i="1" u="sng">
                <a:solidFill>
                  <a:srgbClr val="FF993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rlin Sans FB Demi" panose="020E0802020502020306" pitchFamily="34" charset="0"/>
              </a:rPr>
              <a:t>ANI</a:t>
            </a:r>
            <a:endParaRPr lang="es-CO" sz="1200" b="1" i="1" u="sng">
              <a:solidFill>
                <a:srgbClr val="FF993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erlin Sans FB Demi" panose="020E0802020502020306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6994195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1845"/>
          <a:stretch/>
        </p:blipFill>
        <p:spPr>
          <a:xfrm>
            <a:off x="194165" y="173361"/>
            <a:ext cx="3964492" cy="4796778"/>
          </a:xfrm>
          <a:prstGeom prst="rect">
            <a:avLst/>
          </a:prstGeom>
        </p:spPr>
      </p:pic>
      <p:sp>
        <p:nvSpPr>
          <p:cNvPr id="2" name="Rectángulo 1">
            <a:extLst>
              <a:ext uri="{FF2B5EF4-FFF2-40B4-BE49-F238E27FC236}">
                <a16:creationId xmlns:a16="http://schemas.microsoft.com/office/drawing/2014/main" id="{99C5E0F9-DE2B-4BED-AE6A-795D79B450D0}"/>
              </a:ext>
            </a:extLst>
          </p:cNvPr>
          <p:cNvSpPr/>
          <p:nvPr/>
        </p:nvSpPr>
        <p:spPr>
          <a:xfrm>
            <a:off x="4751952" y="577233"/>
            <a:ext cx="1939955" cy="5539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just">
              <a:buClrTx/>
              <a:tabLst>
                <a:tab pos="0" algn="l"/>
              </a:tabLst>
              <a:defRPr/>
            </a:pPr>
            <a:r>
              <a:rPr lang="es-CO" sz="3000" b="1">
                <a:solidFill>
                  <a:srgbClr val="002060"/>
                </a:solidFill>
                <a:latin typeface="Berlin Sans FB Demi" panose="020E0802020502020306" pitchFamily="34" charset="0"/>
                <a:sym typeface="Work Sans Light"/>
              </a:rPr>
              <a:t>Necesidad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6F35F68E-5B2A-401F-9B99-F28657330274}"/>
              </a:ext>
            </a:extLst>
          </p:cNvPr>
          <p:cNvSpPr txBox="1"/>
          <p:nvPr/>
        </p:nvSpPr>
        <p:spPr>
          <a:xfrm>
            <a:off x="4158657" y="1339132"/>
            <a:ext cx="4632384" cy="2554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MX" sz="1600" b="1">
                <a:solidFill>
                  <a:srgbClr val="002060"/>
                </a:solidFill>
                <a:latin typeface="Work Sans" pitchFamily="2" charset="0"/>
              </a:rPr>
              <a:t>Ausencia de una base de datos </a:t>
            </a:r>
            <a:r>
              <a:rPr lang="es-MX" sz="1600">
                <a:solidFill>
                  <a:schemeClr val="accent6"/>
                </a:solidFill>
                <a:latin typeface="Work Sans" pitchFamily="2" charset="0"/>
              </a:rPr>
              <a:t>con la documentación de las experiencias en la gestión de los diferentes proyectos contractuales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s-MX" sz="1600">
              <a:solidFill>
                <a:schemeClr val="accent6"/>
              </a:solidFill>
              <a:latin typeface="Work Sans" pitchFamily="2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MX" sz="1600" b="1">
                <a:solidFill>
                  <a:srgbClr val="002060"/>
                </a:solidFill>
                <a:latin typeface="Work Sans" pitchFamily="2" charset="0"/>
              </a:rPr>
              <a:t>Riesgo de adopción de criterios </a:t>
            </a:r>
            <a:r>
              <a:rPr lang="es-MX" sz="1600">
                <a:solidFill>
                  <a:schemeClr val="accent6"/>
                </a:solidFill>
                <a:latin typeface="Work Sans" pitchFamily="2" charset="0"/>
              </a:rPr>
              <a:t>diferentes frente a situaciones similares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s-MX" sz="1600">
              <a:solidFill>
                <a:schemeClr val="accent6"/>
              </a:solidFill>
              <a:latin typeface="Work Sans" pitchFamily="2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MX" sz="1600">
                <a:solidFill>
                  <a:schemeClr val="accent6"/>
                </a:solidFill>
                <a:latin typeface="Work Sans" pitchFamily="2" charset="0"/>
              </a:rPr>
              <a:t>Pérdida de oportunidad de </a:t>
            </a:r>
            <a:r>
              <a:rPr lang="es-MX" sz="1600" b="1">
                <a:solidFill>
                  <a:srgbClr val="002060"/>
                </a:solidFill>
                <a:latin typeface="Work Sans" pitchFamily="2" charset="0"/>
              </a:rPr>
              <a:t>ganar tiempo </a:t>
            </a:r>
            <a:r>
              <a:rPr lang="es-MX" sz="1600">
                <a:solidFill>
                  <a:schemeClr val="accent6"/>
                </a:solidFill>
                <a:latin typeface="Work Sans" pitchFamily="2" charset="0"/>
              </a:rPr>
              <a:t>por no construir sobre lo ya construido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6508DD4F-2E5E-4255-BB99-259394DC13C6}"/>
              </a:ext>
            </a:extLst>
          </p:cNvPr>
          <p:cNvSpPr txBox="1"/>
          <p:nvPr/>
        </p:nvSpPr>
        <p:spPr>
          <a:xfrm>
            <a:off x="14131" y="0"/>
            <a:ext cx="4572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O" sz="1600" b="1" i="1" u="sng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rlin Sans FB Demi" panose="020E0802020502020306" pitchFamily="34" charset="0"/>
              </a:rPr>
              <a:t>B</a:t>
            </a:r>
            <a:r>
              <a:rPr lang="es-CO" sz="1200" b="1" i="1" u="sng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rlin Sans FB Demi" panose="020E0802020502020306" pitchFamily="34" charset="0"/>
              </a:rPr>
              <a:t>ANCO DE </a:t>
            </a:r>
            <a:r>
              <a:rPr lang="es-CO" sz="1800" b="1" i="1" u="sng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rlin Sans FB Demi" panose="020E0802020502020306" pitchFamily="34" charset="0"/>
              </a:rPr>
              <a:t>E</a:t>
            </a:r>
            <a:r>
              <a:rPr lang="es-CO" sz="1200" b="1" i="1" u="sng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rlin Sans FB Demi" panose="020E0802020502020306" pitchFamily="34" charset="0"/>
              </a:rPr>
              <a:t>XPERIENCIAS </a:t>
            </a:r>
            <a:r>
              <a:rPr lang="es-CO" sz="1600" b="1" i="1" u="sng">
                <a:solidFill>
                  <a:srgbClr val="FF993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rlin Sans FB Demi" panose="020E0802020502020306" pitchFamily="34" charset="0"/>
              </a:rPr>
              <a:t>ANI</a:t>
            </a:r>
            <a:endParaRPr lang="es-CO" sz="1200" b="1" i="1" u="sng">
              <a:solidFill>
                <a:srgbClr val="FF993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erlin Sans FB Demi" panose="020E0802020502020306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787317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" name="Google Shape;245;p32"/>
          <p:cNvSpPr txBox="1">
            <a:spLocks noGrp="1"/>
          </p:cNvSpPr>
          <p:nvPr>
            <p:ph type="title"/>
          </p:nvPr>
        </p:nvSpPr>
        <p:spPr>
          <a:xfrm>
            <a:off x="2300131" y="0"/>
            <a:ext cx="4307700" cy="643800"/>
          </a:xfrm>
          <a:prstGeom prst="rect">
            <a:avLst/>
          </a:prstGeom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indent="0" algn="ctr">
              <a:lnSpc>
                <a:spcPct val="100000"/>
              </a:lnSpc>
              <a:buClrTx/>
              <a:buFont typeface="Arial"/>
              <a:buNone/>
              <a:tabLst>
                <a:tab pos="0" algn="l"/>
              </a:tabLst>
              <a:defRPr/>
            </a:pPr>
            <a:r>
              <a:rPr lang="es-CO" sz="2800" b="1">
                <a:solidFill>
                  <a:srgbClr val="002060"/>
                </a:solidFill>
                <a:latin typeface="Berlin Sans FB Demi" panose="020E0802020502020306" pitchFamily="34" charset="0"/>
                <a:cs typeface="Arial"/>
                <a:sym typeface="Arial"/>
              </a:rPr>
              <a:t>Además de….</a:t>
            </a:r>
          </a:p>
        </p:txBody>
      </p:sp>
      <p:sp>
        <p:nvSpPr>
          <p:cNvPr id="11" name="Rectángulo 10">
            <a:extLst>
              <a:ext uri="{FF2B5EF4-FFF2-40B4-BE49-F238E27FC236}">
                <a16:creationId xmlns:a16="http://schemas.microsoft.com/office/drawing/2014/main" id="{C4446BEC-E3B0-434D-BAA0-02F2A33B741D}"/>
              </a:ext>
            </a:extLst>
          </p:cNvPr>
          <p:cNvSpPr/>
          <p:nvPr/>
        </p:nvSpPr>
        <p:spPr>
          <a:xfrm>
            <a:off x="294753" y="795287"/>
            <a:ext cx="5940794" cy="39292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algn="just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s-MX" sz="1600">
                <a:solidFill>
                  <a:schemeClr val="bg2"/>
                </a:solidFill>
                <a:latin typeface="Work Sans" pitchFamily="2" charset="77"/>
                <a:cs typeface="Arial" panose="020B0604020202020204" pitchFamily="34" charset="0"/>
              </a:rPr>
              <a:t>Conservar la </a:t>
            </a:r>
            <a:r>
              <a:rPr lang="es-MX" sz="1600" b="1">
                <a:solidFill>
                  <a:srgbClr val="002060"/>
                </a:solidFill>
                <a:latin typeface="Work Sans" pitchFamily="2" charset="77"/>
                <a:cs typeface="Arial" panose="020B0604020202020204" pitchFamily="34" charset="0"/>
              </a:rPr>
              <a:t>memoria histórica </a:t>
            </a:r>
            <a:r>
              <a:rPr lang="es-MX" sz="1600">
                <a:solidFill>
                  <a:schemeClr val="bg2"/>
                </a:solidFill>
                <a:latin typeface="Work Sans" pitchFamily="2" charset="77"/>
                <a:cs typeface="Arial" panose="020B0604020202020204" pitchFamily="34" charset="0"/>
              </a:rPr>
              <a:t>de los proyectos como respaldo institucional y mitigar la fuga de conocimiento.</a:t>
            </a:r>
          </a:p>
          <a:p>
            <a:pPr marL="171450" indent="-171450" algn="just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s-MX" sz="1600">
                <a:solidFill>
                  <a:schemeClr val="bg2"/>
                </a:solidFill>
                <a:latin typeface="Work Sans" pitchFamily="2" charset="77"/>
                <a:cs typeface="Arial" panose="020B0604020202020204" pitchFamily="34" charset="0"/>
              </a:rPr>
              <a:t>Capitalizar el conocimiento de la Entidad para </a:t>
            </a:r>
            <a:r>
              <a:rPr lang="es-MX" sz="1600" b="1">
                <a:solidFill>
                  <a:srgbClr val="002060"/>
                </a:solidFill>
                <a:latin typeface="Work Sans" pitchFamily="2" charset="77"/>
                <a:cs typeface="Arial" panose="020B0604020202020204" pitchFamily="34" charset="0"/>
              </a:rPr>
              <a:t>mejorar sus procesos.</a:t>
            </a:r>
          </a:p>
          <a:p>
            <a:pPr marL="171450" indent="-171450" algn="just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s-MX" sz="1600">
                <a:solidFill>
                  <a:schemeClr val="bg2"/>
                </a:solidFill>
                <a:latin typeface="Work Sans" pitchFamily="2" charset="77"/>
                <a:cs typeface="Arial" panose="020B0604020202020204" pitchFamily="34" charset="0"/>
              </a:rPr>
              <a:t>Mitigar los posibles riesgos mediante la </a:t>
            </a:r>
            <a:r>
              <a:rPr lang="es-MX" sz="1600" b="1">
                <a:solidFill>
                  <a:srgbClr val="002060"/>
                </a:solidFill>
                <a:latin typeface="Work Sans" pitchFamily="2" charset="77"/>
                <a:cs typeface="Arial" panose="020B0604020202020204" pitchFamily="34" charset="0"/>
              </a:rPr>
              <a:t>adopción de criterios</a:t>
            </a:r>
            <a:r>
              <a:rPr lang="es-MX" sz="1600" b="1">
                <a:latin typeface="Work Sans" pitchFamily="2" charset="77"/>
                <a:cs typeface="Arial" panose="020B0604020202020204" pitchFamily="34" charset="0"/>
              </a:rPr>
              <a:t> </a:t>
            </a:r>
            <a:r>
              <a:rPr lang="es-MX" sz="1600">
                <a:solidFill>
                  <a:schemeClr val="bg2"/>
                </a:solidFill>
                <a:latin typeface="Work Sans" pitchFamily="2" charset="77"/>
                <a:cs typeface="Arial" panose="020B0604020202020204" pitchFamily="34" charset="0"/>
              </a:rPr>
              <a:t>uniformes frente a situaciones similares.</a:t>
            </a:r>
          </a:p>
          <a:p>
            <a:pPr marL="171450" indent="-171450" algn="just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s-MX" sz="1600">
                <a:solidFill>
                  <a:schemeClr val="bg2"/>
                </a:solidFill>
                <a:latin typeface="Work Sans" pitchFamily="2" charset="77"/>
                <a:cs typeface="Arial" panose="020B0604020202020204" pitchFamily="34" charset="0"/>
              </a:rPr>
              <a:t>Beneficiar los proyectos y usuarios, bajo el entendimiento que sus necesidades serán atendidas de manera eficaz y eficiente; </a:t>
            </a:r>
            <a:r>
              <a:rPr lang="es-MX" sz="1600" b="1">
                <a:solidFill>
                  <a:srgbClr val="002060"/>
                </a:solidFill>
                <a:latin typeface="Work Sans" pitchFamily="2" charset="77"/>
                <a:cs typeface="Arial" panose="020B0604020202020204" pitchFamily="34" charset="0"/>
              </a:rPr>
              <a:t>mejorando la toma de decisiones</a:t>
            </a:r>
            <a:r>
              <a:rPr lang="es-MX" sz="1600">
                <a:solidFill>
                  <a:schemeClr val="bg2"/>
                </a:solidFill>
                <a:latin typeface="Work Sans" pitchFamily="2" charset="77"/>
                <a:cs typeface="Arial" panose="020B0604020202020204" pitchFamily="34" charset="0"/>
              </a:rPr>
              <a:t>.</a:t>
            </a:r>
          </a:p>
          <a:p>
            <a:pPr marL="171450" indent="-171450" algn="just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s-MX" sz="1600">
                <a:solidFill>
                  <a:schemeClr val="bg2"/>
                </a:solidFill>
                <a:latin typeface="Work Sans" pitchFamily="2" charset="77"/>
                <a:cs typeface="Arial" panose="020B0604020202020204" pitchFamily="34" charset="0"/>
              </a:rPr>
              <a:t>Robustecer el blindaje de la Entidad frente a la toma de decisión con el fin de generar lineamientos trasversales en casos similares.</a:t>
            </a:r>
          </a:p>
          <a:p>
            <a:pPr marL="171450" indent="-171450" algn="just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s-MX" sz="1600" b="1">
                <a:solidFill>
                  <a:srgbClr val="002060"/>
                </a:solidFill>
                <a:latin typeface="Work Sans" pitchFamily="2" charset="77"/>
                <a:cs typeface="Arial" panose="020B0604020202020204" pitchFamily="34" charset="0"/>
              </a:rPr>
              <a:t>Seguimiento</a:t>
            </a:r>
            <a:r>
              <a:rPr lang="es-MX" sz="1600">
                <a:solidFill>
                  <a:schemeClr val="bg2"/>
                </a:solidFill>
                <a:latin typeface="Work Sans" pitchFamily="2" charset="77"/>
                <a:cs typeface="Arial" panose="020B0604020202020204" pitchFamily="34" charset="0"/>
              </a:rPr>
              <a:t> a las decisiones tomadas.</a:t>
            </a:r>
            <a:endParaRPr lang="es-CO">
              <a:solidFill>
                <a:schemeClr val="bg2"/>
              </a:solidFill>
              <a:latin typeface="Work Sans" pitchFamily="2" charset="77"/>
              <a:cs typeface="Arial" panose="020B0604020202020204" pitchFamily="34" charset="0"/>
            </a:endParaRPr>
          </a:p>
        </p:txBody>
      </p:sp>
      <p:pic>
        <p:nvPicPr>
          <p:cNvPr id="4" name="Imagen 3" descr="Un grupo de personas en un aeropuerto&#10;&#10;Descripción generada automáticamente con confianza media">
            <a:extLst>
              <a:ext uri="{FF2B5EF4-FFF2-40B4-BE49-F238E27FC236}">
                <a16:creationId xmlns:a16="http://schemas.microsoft.com/office/drawing/2014/main" id="{03CEA5D4-A3E6-4066-9E9C-9E775FDB57A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71526"/>
          <a:stretch/>
        </p:blipFill>
        <p:spPr>
          <a:xfrm>
            <a:off x="6483262" y="1048675"/>
            <a:ext cx="2454826" cy="3296630"/>
          </a:xfrm>
          <a:prstGeom prst="rect">
            <a:avLst/>
          </a:prstGeom>
        </p:spPr>
      </p:pic>
      <p:sp>
        <p:nvSpPr>
          <p:cNvPr id="6" name="CuadroTexto 5">
            <a:extLst>
              <a:ext uri="{FF2B5EF4-FFF2-40B4-BE49-F238E27FC236}">
                <a16:creationId xmlns:a16="http://schemas.microsoft.com/office/drawing/2014/main" id="{684411F2-FD04-48EC-9089-073DB8B213C9}"/>
              </a:ext>
            </a:extLst>
          </p:cNvPr>
          <p:cNvSpPr txBox="1"/>
          <p:nvPr/>
        </p:nvSpPr>
        <p:spPr>
          <a:xfrm>
            <a:off x="14131" y="0"/>
            <a:ext cx="4572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O" sz="1600" b="1" i="1" u="sng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rlin Sans FB Demi" panose="020E0802020502020306" pitchFamily="34" charset="0"/>
              </a:rPr>
              <a:t>B</a:t>
            </a:r>
            <a:r>
              <a:rPr lang="es-CO" sz="1200" b="1" i="1" u="sng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rlin Sans FB Demi" panose="020E0802020502020306" pitchFamily="34" charset="0"/>
              </a:rPr>
              <a:t>ANCO DE </a:t>
            </a:r>
            <a:r>
              <a:rPr lang="es-CO" sz="1800" b="1" i="1" u="sng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rlin Sans FB Demi" panose="020E0802020502020306" pitchFamily="34" charset="0"/>
              </a:rPr>
              <a:t>E</a:t>
            </a:r>
            <a:r>
              <a:rPr lang="es-CO" sz="1200" b="1" i="1" u="sng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rlin Sans FB Demi" panose="020E0802020502020306" pitchFamily="34" charset="0"/>
              </a:rPr>
              <a:t>XPERIENCIAS </a:t>
            </a:r>
            <a:r>
              <a:rPr lang="es-CO" sz="1600" b="1" i="1" u="sng">
                <a:solidFill>
                  <a:srgbClr val="FF993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rlin Sans FB Demi" panose="020E0802020502020306" pitchFamily="34" charset="0"/>
              </a:rPr>
              <a:t>ANI</a:t>
            </a:r>
            <a:endParaRPr lang="es-CO" sz="1200" b="1" i="1" u="sng">
              <a:solidFill>
                <a:srgbClr val="FF993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erlin Sans FB Demi" panose="020E0802020502020306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840699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to 16" hidden="1">
            <a:extLst>
              <a:ext uri="{FF2B5EF4-FFF2-40B4-BE49-F238E27FC236}">
                <a16:creationId xmlns:a16="http://schemas.microsoft.com/office/drawing/2014/main" id="{4BD27050-E007-4F26-AA34-A4DBA7B27B9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5" name="Diapositiva de think-cell" r:id="rId5" imgW="346" imgH="343" progId="TCLayout.ActiveDocument.1">
                  <p:embed/>
                </p:oleObj>
              </mc:Choice>
              <mc:Fallback>
                <p:oleObj name="Diapositiva de think-cell" r:id="rId5" imgW="346" imgH="343" progId="TCLayout.ActiveDocument.1">
                  <p:embed/>
                  <p:pic>
                    <p:nvPicPr>
                      <p:cNvPr id="17" name="Objeto 16" hidden="1">
                        <a:extLst>
                          <a:ext uri="{FF2B5EF4-FFF2-40B4-BE49-F238E27FC236}">
                            <a16:creationId xmlns:a16="http://schemas.microsoft.com/office/drawing/2014/main" id="{4BD27050-E007-4F26-AA34-A4DBA7B27B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>
            <a:extLst>
              <a:ext uri="{FF2B5EF4-FFF2-40B4-BE49-F238E27FC236}">
                <a16:creationId xmlns:a16="http://schemas.microsoft.com/office/drawing/2014/main" id="{E7F2B3A3-A657-4750-B014-FAC433C7D76A}"/>
              </a:ext>
            </a:extLst>
          </p:cNvPr>
          <p:cNvSpPr/>
          <p:nvPr/>
        </p:nvSpPr>
        <p:spPr>
          <a:xfrm>
            <a:off x="2435225" y="1015739"/>
            <a:ext cx="476250" cy="86154"/>
          </a:xfrm>
          <a:prstGeom prst="rect">
            <a:avLst/>
          </a:prstGeom>
          <a:solidFill>
            <a:srgbClr val="DC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5C3EABF6-1677-4D3F-8EBA-49F4A249922A}"/>
              </a:ext>
            </a:extLst>
          </p:cNvPr>
          <p:cNvSpPr/>
          <p:nvPr/>
        </p:nvSpPr>
        <p:spPr>
          <a:xfrm>
            <a:off x="2428875" y="1045855"/>
            <a:ext cx="342900" cy="86154"/>
          </a:xfrm>
          <a:prstGeom prst="rect">
            <a:avLst/>
          </a:prstGeom>
          <a:solidFill>
            <a:srgbClr val="DC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3" name="Google Shape;245;p32">
            <a:extLst>
              <a:ext uri="{FF2B5EF4-FFF2-40B4-BE49-F238E27FC236}">
                <a16:creationId xmlns:a16="http://schemas.microsoft.com/office/drawing/2014/main" id="{522DC587-F095-4E13-BAF6-3025EBF7A2E2}"/>
              </a:ext>
            </a:extLst>
          </p:cNvPr>
          <p:cNvSpPr txBox="1">
            <a:spLocks/>
          </p:cNvSpPr>
          <p:nvPr/>
        </p:nvSpPr>
        <p:spPr>
          <a:xfrm>
            <a:off x="3618965" y="369332"/>
            <a:ext cx="4307700" cy="643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54BC"/>
              </a:buClr>
              <a:buSzPts val="3000"/>
              <a:buFont typeface="Work Sans Light"/>
              <a:buNone/>
              <a:defRPr sz="3000" b="0" i="0" u="none" strike="noStrike" cap="none">
                <a:solidFill>
                  <a:srgbClr val="0054BC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54BC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54BC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54BC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54BC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54BC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54BC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54BC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54BC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54BC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54BC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54BC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54BC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54BC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54BC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54BC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54BC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s-CO" b="1">
                <a:solidFill>
                  <a:srgbClr val="002060"/>
                </a:solidFill>
                <a:latin typeface="Berlin Sans FB Demi" panose="020E0802020502020306" pitchFamily="34" charset="0"/>
                <a:cs typeface="Arial"/>
              </a:rPr>
              <a:t>Objetivos esperados</a:t>
            </a:r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id="{2C5359B8-5D74-4FF6-BD1E-F611D7F8DD63}"/>
              </a:ext>
            </a:extLst>
          </p:cNvPr>
          <p:cNvSpPr/>
          <p:nvPr/>
        </p:nvSpPr>
        <p:spPr>
          <a:xfrm>
            <a:off x="3990823" y="1132009"/>
            <a:ext cx="4696590" cy="34470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s-MX" sz="1600" b="1">
                <a:solidFill>
                  <a:srgbClr val="002060"/>
                </a:solidFill>
                <a:latin typeface="Work Sans"/>
              </a:rPr>
              <a:t>Proponer el Banco de Experiencias </a:t>
            </a:r>
            <a:r>
              <a:rPr lang="es-MX" sz="1600">
                <a:solidFill>
                  <a:srgbClr val="0066CD"/>
                </a:solidFill>
                <a:latin typeface="Work Sans"/>
              </a:rPr>
              <a:t>para el aprovechamiento del aprendizaje institucional respecto de la atención de situaciones, casos y buenas prácticas en cada uno de los proyectos.</a:t>
            </a:r>
          </a:p>
          <a:p>
            <a:pPr marL="285750" indent="-285750" algn="just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s-MX" sz="1600" b="1">
                <a:solidFill>
                  <a:srgbClr val="002060"/>
                </a:solidFill>
                <a:latin typeface="Work Sans"/>
              </a:rPr>
              <a:t>Crear el procedimiento </a:t>
            </a:r>
            <a:r>
              <a:rPr lang="es-MX" sz="1600">
                <a:solidFill>
                  <a:srgbClr val="0066CD"/>
                </a:solidFill>
                <a:latin typeface="Work Sans"/>
              </a:rPr>
              <a:t>“Banco de Experiencias” para fortalecer la memoria Institucional de la Agencia, como soporte para la gestión y la toma de decisiones.</a:t>
            </a:r>
          </a:p>
          <a:p>
            <a:pPr marL="285750" indent="-285750" algn="just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s-MX" sz="1600" b="1">
                <a:solidFill>
                  <a:srgbClr val="002060"/>
                </a:solidFill>
                <a:latin typeface="Work Sans"/>
              </a:rPr>
              <a:t>Diseñar el formato o aplicativo </a:t>
            </a:r>
            <a:r>
              <a:rPr lang="es-MX" sz="1600">
                <a:solidFill>
                  <a:srgbClr val="0066CD"/>
                </a:solidFill>
                <a:latin typeface="Work Sans"/>
              </a:rPr>
              <a:t>para el registro de cada caso en el Banco de experiencias, así como la responsabilidad para su diligenciamiento.</a:t>
            </a:r>
          </a:p>
          <a:p>
            <a:pPr marL="171450" indent="-171450" algn="just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</a:pPr>
            <a:endParaRPr lang="es-CO">
              <a:solidFill>
                <a:srgbClr val="0066CD"/>
              </a:solidFill>
              <a:latin typeface="Work Sans" pitchFamily="2" charset="77"/>
              <a:cs typeface="Arial" panose="020B0604020202020204" pitchFamily="34" charset="0"/>
            </a:endParaRPr>
          </a:p>
        </p:txBody>
      </p:sp>
      <p:pic>
        <p:nvPicPr>
          <p:cNvPr id="6" name="Imagen 5" descr="Una ruleta de colores&#10;&#10;Descripción generada automáticamente con confianza baja">
            <a:extLst>
              <a:ext uri="{FF2B5EF4-FFF2-40B4-BE49-F238E27FC236}">
                <a16:creationId xmlns:a16="http://schemas.microsoft.com/office/drawing/2014/main" id="{74B3B082-1136-4762-9085-8B1A8755095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837473B0-CC2E-450A-ABE3-18F120FF3D39}">
                <a1611:picAttrSrcUrl xmlns:a1611="http://schemas.microsoft.com/office/drawing/2016/11/main" r:id="rId8"/>
              </a:ext>
            </a:extLst>
          </a:blip>
          <a:stretch>
            <a:fillRect/>
          </a:stretch>
        </p:blipFill>
        <p:spPr>
          <a:xfrm>
            <a:off x="284878" y="798927"/>
            <a:ext cx="3327737" cy="3298717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9" name="CuadroTexto 8">
            <a:extLst>
              <a:ext uri="{FF2B5EF4-FFF2-40B4-BE49-F238E27FC236}">
                <a16:creationId xmlns:a16="http://schemas.microsoft.com/office/drawing/2014/main" id="{84F5E3E2-CCB8-40C0-9DB6-70FEC62A1181}"/>
              </a:ext>
            </a:extLst>
          </p:cNvPr>
          <p:cNvSpPr txBox="1"/>
          <p:nvPr/>
        </p:nvSpPr>
        <p:spPr>
          <a:xfrm>
            <a:off x="14131" y="0"/>
            <a:ext cx="4572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O" sz="1600" b="1" i="1" u="sng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rlin Sans FB Demi" panose="020E0802020502020306" pitchFamily="34" charset="0"/>
              </a:rPr>
              <a:t>B</a:t>
            </a:r>
            <a:r>
              <a:rPr lang="es-CO" sz="1200" b="1" i="1" u="sng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rlin Sans FB Demi" panose="020E0802020502020306" pitchFamily="34" charset="0"/>
              </a:rPr>
              <a:t>ANCO DE </a:t>
            </a:r>
            <a:r>
              <a:rPr lang="es-CO" sz="1800" b="1" i="1" u="sng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rlin Sans FB Demi" panose="020E0802020502020306" pitchFamily="34" charset="0"/>
              </a:rPr>
              <a:t>E</a:t>
            </a:r>
            <a:r>
              <a:rPr lang="es-CO" sz="1200" b="1" i="1" u="sng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rlin Sans FB Demi" panose="020E0802020502020306" pitchFamily="34" charset="0"/>
              </a:rPr>
              <a:t>XPERIENCIAS </a:t>
            </a:r>
            <a:r>
              <a:rPr lang="es-CO" sz="1600" b="1" i="1" u="sng">
                <a:solidFill>
                  <a:srgbClr val="FF993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rlin Sans FB Demi" panose="020E0802020502020306" pitchFamily="34" charset="0"/>
              </a:rPr>
              <a:t>ANI</a:t>
            </a:r>
            <a:endParaRPr lang="es-CO" sz="1200" b="1" i="1" u="sng">
              <a:solidFill>
                <a:srgbClr val="FF993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erlin Sans FB Demi" panose="020E0802020502020306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768326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2" name="Google Shape;202;p26"/>
          <p:cNvSpPr txBox="1">
            <a:spLocks noGrp="1"/>
          </p:cNvSpPr>
          <p:nvPr>
            <p:ph type="title"/>
          </p:nvPr>
        </p:nvSpPr>
        <p:spPr>
          <a:xfrm>
            <a:off x="420669" y="644264"/>
            <a:ext cx="7732295" cy="6401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r>
              <a:rPr lang="es-CO" sz="2800" b="1">
                <a:solidFill>
                  <a:srgbClr val="002060"/>
                </a:solidFill>
                <a:latin typeface="Berlin Sans FB Demi" panose="020E0802020502020306" pitchFamily="34" charset="0"/>
              </a:rPr>
              <a:t>¿Quienes participaron?</a:t>
            </a: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2A28F739-ECD2-4682-8921-4C7135E716E7}"/>
              </a:ext>
            </a:extLst>
          </p:cNvPr>
          <p:cNvSpPr txBox="1"/>
          <p:nvPr/>
        </p:nvSpPr>
        <p:spPr>
          <a:xfrm>
            <a:off x="695301" y="1284462"/>
            <a:ext cx="4572000" cy="33547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1" algn="ctr"/>
            <a:r>
              <a:rPr lang="es-MX" sz="1800" b="1">
                <a:solidFill>
                  <a:srgbClr val="002060"/>
                </a:solidFill>
                <a:latin typeface="Work Sans" pitchFamily="2" charset="0"/>
              </a:rPr>
              <a:t>EQUIPO ANI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endParaRPr lang="es-MX" sz="1800">
              <a:solidFill>
                <a:schemeClr val="accent6"/>
              </a:solidFill>
              <a:latin typeface="Work Sans" pitchFamily="2" charset="0"/>
            </a:endParaRP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s-MX" sz="1800">
                <a:solidFill>
                  <a:schemeClr val="accent6"/>
                </a:solidFill>
                <a:latin typeface="Work Sans" pitchFamily="2" charset="0"/>
              </a:rPr>
              <a:t>GIT Planeación:</a:t>
            </a:r>
          </a:p>
          <a:p>
            <a:pPr marL="285750" lvl="8" indent="-285750">
              <a:buFont typeface="Wingdings" panose="05000000000000000000" pitchFamily="2" charset="2"/>
              <a:buChar char="Ø"/>
            </a:pPr>
            <a:r>
              <a:rPr lang="es-MX" sz="1600">
                <a:solidFill>
                  <a:schemeClr val="accent6"/>
                </a:solidFill>
                <a:latin typeface="Work Sans" pitchFamily="2" charset="0"/>
              </a:rPr>
              <a:t>Gestión del conocimiento</a:t>
            </a:r>
          </a:p>
          <a:p>
            <a:pPr marL="285750" lvl="8" indent="-285750">
              <a:buFont typeface="Wingdings" panose="05000000000000000000" pitchFamily="2" charset="2"/>
              <a:buChar char="Ø"/>
            </a:pPr>
            <a:r>
              <a:rPr lang="es-MX" sz="1600">
                <a:solidFill>
                  <a:schemeClr val="accent6"/>
                </a:solidFill>
                <a:latin typeface="Work Sans" pitchFamily="2" charset="0"/>
              </a:rPr>
              <a:t>Calida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MX" sz="1800">
              <a:solidFill>
                <a:schemeClr val="accent6"/>
              </a:solidFill>
              <a:latin typeface="Work Sans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sz="1800">
                <a:solidFill>
                  <a:schemeClr val="accent6"/>
                </a:solidFill>
                <a:latin typeface="Work Sans" pitchFamily="2" charset="0"/>
              </a:rPr>
              <a:t>GIT Tecnologí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sz="1800">
                <a:solidFill>
                  <a:schemeClr val="accent6"/>
                </a:solidFill>
                <a:latin typeface="Work Sans" pitchFamily="2" charset="0"/>
              </a:rPr>
              <a:t>GIT Jurídic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sz="1800">
                <a:solidFill>
                  <a:schemeClr val="accent6"/>
                </a:solidFill>
                <a:latin typeface="Work Sans" pitchFamily="2" charset="0"/>
              </a:rPr>
              <a:t>GIT Financier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sz="1800">
                <a:solidFill>
                  <a:schemeClr val="accent6"/>
                </a:solidFill>
                <a:latin typeface="Work Sans" pitchFamily="2" charset="0"/>
              </a:rPr>
              <a:t>GIT Riesgo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sz="1800">
                <a:solidFill>
                  <a:schemeClr val="accent6"/>
                </a:solidFill>
                <a:latin typeface="Work Sans" pitchFamily="2" charset="0"/>
              </a:rPr>
              <a:t>GIT Técnic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sz="1800">
                <a:solidFill>
                  <a:schemeClr val="accent6"/>
                </a:solidFill>
                <a:latin typeface="Work Sans" pitchFamily="2" charset="0"/>
              </a:rPr>
              <a:t>GIT Ambiental</a:t>
            </a:r>
          </a:p>
        </p:txBody>
      </p:sp>
      <p:grpSp>
        <p:nvGrpSpPr>
          <p:cNvPr id="12" name="Grupo 11">
            <a:extLst>
              <a:ext uri="{FF2B5EF4-FFF2-40B4-BE49-F238E27FC236}">
                <a16:creationId xmlns:a16="http://schemas.microsoft.com/office/drawing/2014/main" id="{05D8D1B3-B69A-4306-9295-2970714A5C42}"/>
              </a:ext>
            </a:extLst>
          </p:cNvPr>
          <p:cNvGrpSpPr/>
          <p:nvPr/>
        </p:nvGrpSpPr>
        <p:grpSpPr>
          <a:xfrm>
            <a:off x="5089793" y="1096347"/>
            <a:ext cx="2831641" cy="2950805"/>
            <a:chOff x="358429" y="1818857"/>
            <a:chExt cx="3625885" cy="3648065"/>
          </a:xfrm>
        </p:grpSpPr>
        <p:sp>
          <p:nvSpPr>
            <p:cNvPr id="13" name="Elipse 12">
              <a:extLst>
                <a:ext uri="{FF2B5EF4-FFF2-40B4-BE49-F238E27FC236}">
                  <a16:creationId xmlns:a16="http://schemas.microsoft.com/office/drawing/2014/main" id="{FA17B5EC-2BDF-4D98-B9A4-2A6B0BE4734A}"/>
                </a:ext>
              </a:extLst>
            </p:cNvPr>
            <p:cNvSpPr/>
            <p:nvPr/>
          </p:nvSpPr>
          <p:spPr>
            <a:xfrm>
              <a:off x="358429" y="1818857"/>
              <a:ext cx="3625885" cy="3648065"/>
            </a:xfrm>
            <a:prstGeom prst="ellipse">
              <a:avLst/>
            </a:prstGeom>
            <a:solidFill>
              <a:srgbClr val="FFFFFF">
                <a:alpha val="8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O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pic>
          <p:nvPicPr>
            <p:cNvPr id="14" name="Imagen 13">
              <a:extLst>
                <a:ext uri="{FF2B5EF4-FFF2-40B4-BE49-F238E27FC236}">
                  <a16:creationId xmlns:a16="http://schemas.microsoft.com/office/drawing/2014/main" id="{AFA6D039-9C06-4DB2-9F3D-1B936217610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82198" y="1990933"/>
              <a:ext cx="2592870" cy="2876133"/>
            </a:xfrm>
            <a:prstGeom prst="rect">
              <a:avLst/>
            </a:prstGeom>
          </p:spPr>
        </p:pic>
      </p:grpSp>
      <p:sp>
        <p:nvSpPr>
          <p:cNvPr id="8" name="CuadroTexto 7">
            <a:extLst>
              <a:ext uri="{FF2B5EF4-FFF2-40B4-BE49-F238E27FC236}">
                <a16:creationId xmlns:a16="http://schemas.microsoft.com/office/drawing/2014/main" id="{442DEE3B-D7D7-45AF-B6E5-3FD91CEAD213}"/>
              </a:ext>
            </a:extLst>
          </p:cNvPr>
          <p:cNvSpPr txBox="1"/>
          <p:nvPr/>
        </p:nvSpPr>
        <p:spPr>
          <a:xfrm>
            <a:off x="14131" y="0"/>
            <a:ext cx="4572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O" sz="1600" b="1" i="1" u="sng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rlin Sans FB Demi" panose="020E0802020502020306" pitchFamily="34" charset="0"/>
              </a:rPr>
              <a:t>B</a:t>
            </a:r>
            <a:r>
              <a:rPr lang="es-CO" sz="1200" b="1" i="1" u="sng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rlin Sans FB Demi" panose="020E0802020502020306" pitchFamily="34" charset="0"/>
              </a:rPr>
              <a:t>ANCO DE </a:t>
            </a:r>
            <a:r>
              <a:rPr lang="es-CO" sz="1800" b="1" i="1" u="sng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rlin Sans FB Demi" panose="020E0802020502020306" pitchFamily="34" charset="0"/>
              </a:rPr>
              <a:t>E</a:t>
            </a:r>
            <a:r>
              <a:rPr lang="es-CO" sz="1200" b="1" i="1" u="sng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rlin Sans FB Demi" panose="020E0802020502020306" pitchFamily="34" charset="0"/>
              </a:rPr>
              <a:t>XPERIENCIAS </a:t>
            </a:r>
            <a:r>
              <a:rPr lang="es-CO" sz="1600" b="1" i="1" u="sng">
                <a:solidFill>
                  <a:srgbClr val="FF993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rlin Sans FB Demi" panose="020E0802020502020306" pitchFamily="34" charset="0"/>
              </a:rPr>
              <a:t>ANI</a:t>
            </a:r>
            <a:endParaRPr lang="es-CO" sz="1200" b="1" i="1" u="sng">
              <a:solidFill>
                <a:srgbClr val="FF993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erlin Sans FB Demi" panose="020E0802020502020306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40439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Vvfoa9ukC0mhKYK_KKa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Vvfoa9ukC0mhKYK_KKaA"/>
</p:tagLst>
</file>

<file path=ppt/theme/theme1.xml><?xml version="1.0" encoding="utf-8"?>
<a:theme xmlns:a="http://schemas.openxmlformats.org/drawingml/2006/main" name="Presidencia de Colomba">
  <a:themeElements>
    <a:clrScheme name="Presidencia">
      <a:dk1>
        <a:srgbClr val="073763"/>
      </a:dk1>
      <a:lt1>
        <a:srgbClr val="FFFFFF"/>
      </a:lt1>
      <a:dk2>
        <a:srgbClr val="3C78D8"/>
      </a:dk2>
      <a:lt2>
        <a:srgbClr val="A4C2F4"/>
      </a:lt2>
      <a:accent1>
        <a:srgbClr val="E4EDFE"/>
      </a:accent1>
      <a:accent2>
        <a:srgbClr val="B7CFFF"/>
      </a:accent2>
      <a:accent3>
        <a:srgbClr val="88ACF8"/>
      </a:accent3>
      <a:accent4>
        <a:srgbClr val="5B8BFF"/>
      </a:accent4>
      <a:accent5>
        <a:srgbClr val="6D98FF"/>
      </a:accent5>
      <a:accent6>
        <a:srgbClr val="2A54A7"/>
      </a:accent6>
      <a:hlink>
        <a:srgbClr val="F45721"/>
      </a:hlink>
      <a:folHlink>
        <a:srgbClr val="FFA064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Presidencia">
    <a:dk1>
      <a:srgbClr val="073763"/>
    </a:dk1>
    <a:lt1>
      <a:srgbClr val="FFFFFF"/>
    </a:lt1>
    <a:dk2>
      <a:srgbClr val="3C78D8"/>
    </a:dk2>
    <a:lt2>
      <a:srgbClr val="A4C2F4"/>
    </a:lt2>
    <a:accent1>
      <a:srgbClr val="E4EDFE"/>
    </a:accent1>
    <a:accent2>
      <a:srgbClr val="B7CFFF"/>
    </a:accent2>
    <a:accent3>
      <a:srgbClr val="88ACF8"/>
    </a:accent3>
    <a:accent4>
      <a:srgbClr val="5B8BFF"/>
    </a:accent4>
    <a:accent5>
      <a:srgbClr val="6D98FF"/>
    </a:accent5>
    <a:accent6>
      <a:srgbClr val="2A54A7"/>
    </a:accent6>
    <a:hlink>
      <a:srgbClr val="F45721"/>
    </a:hlink>
    <a:folHlink>
      <a:srgbClr val="FFA064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9627327982EAC5468F32DF6C3420B1AA" ma:contentTypeVersion="11" ma:contentTypeDescription="Crear nuevo documento." ma:contentTypeScope="" ma:versionID="9ab9f946f9db573bb07af7ab0f1a5a3f">
  <xsd:schema xmlns:xsd="http://www.w3.org/2001/XMLSchema" xmlns:xs="http://www.w3.org/2001/XMLSchema" xmlns:p="http://schemas.microsoft.com/office/2006/metadata/properties" xmlns:ns2="8065b5fd-482f-4e82-81e0-fa392c3a563f" xmlns:ns3="721853b8-d97a-4303-8bf9-1c8c7b1c2bc5" targetNamespace="http://schemas.microsoft.com/office/2006/metadata/properties" ma:root="true" ma:fieldsID="eb3a5d04ec8289eaa998e697ac0c6671" ns2:_="" ns3:_="">
    <xsd:import namespace="8065b5fd-482f-4e82-81e0-fa392c3a563f"/>
    <xsd:import namespace="721853b8-d97a-4303-8bf9-1c8c7b1c2bc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065b5fd-482f-4e82-81e0-fa392c3a563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21853b8-d97a-4303-8bf9-1c8c7b1c2bc5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Compartid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Detalles de uso compartido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5E312F5-1135-41EE-B2DA-7D956B12511A}">
  <ds:schemaRefs>
    <ds:schemaRef ds:uri="721853b8-d97a-4303-8bf9-1c8c7b1c2bc5"/>
    <ds:schemaRef ds:uri="8065b5fd-482f-4e82-81e0-fa392c3a563f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4F77CE71-F584-4982-94CB-D7985D9A8E86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E1E5ACA0-001F-4C98-860A-D99A74D16F2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Application>Microsoft Office PowerPoint</Application>
  <PresentationFormat>On-screen Show (16:9)</PresentationFormat>
  <Slides>15</Slides>
  <Notes>9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16" baseType="lpstr">
      <vt:lpstr>Presidencia de Colomba</vt:lpstr>
      <vt:lpstr>PowerPoint Presentation</vt:lpstr>
      <vt:lpstr>¿Qué es?</vt:lpstr>
      <vt:lpstr>Integrantes</vt:lpstr>
      <vt:lpstr>¿Error o acierto?</vt:lpstr>
      <vt:lpstr>PowerPoint Presentation</vt:lpstr>
      <vt:lpstr>PowerPoint Presentation</vt:lpstr>
      <vt:lpstr>Además de….</vt:lpstr>
      <vt:lpstr>PowerPoint Presentation</vt:lpstr>
      <vt:lpstr>¿Quienes participaron?</vt:lpstr>
      <vt:lpstr>Fases del Proyecto</vt:lpstr>
      <vt:lpstr>PowerPoint Presentation</vt:lpstr>
      <vt:lpstr>ANISCOPIO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Maria Teresa Paez Diaz</dc:creator>
  <cp:revision>1</cp:revision>
  <dcterms:modified xsi:type="dcterms:W3CDTF">2021-11-25T16:08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627327982EAC5468F32DF6C3420B1AA</vt:lpwstr>
  </property>
</Properties>
</file>